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6.xml" ContentType="application/vnd.openxmlformats-officedocument.presentationml.tag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9.xml" ContentType="application/vnd.openxmlformats-officedocument.presentationml.tags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1"/>
  </p:sldMasterIdLst>
  <p:notesMasterIdLst>
    <p:notesMasterId r:id="rId20"/>
  </p:notesMasterIdLst>
  <p:sldIdLst>
    <p:sldId id="410" r:id="rId2"/>
    <p:sldId id="392" r:id="rId3"/>
    <p:sldId id="299" r:id="rId4"/>
    <p:sldId id="302" r:id="rId5"/>
    <p:sldId id="316" r:id="rId6"/>
    <p:sldId id="378" r:id="rId7"/>
    <p:sldId id="379" r:id="rId8"/>
    <p:sldId id="424" r:id="rId9"/>
    <p:sldId id="425" r:id="rId10"/>
    <p:sldId id="426" r:id="rId11"/>
    <p:sldId id="427" r:id="rId12"/>
    <p:sldId id="428" r:id="rId13"/>
    <p:sldId id="382" r:id="rId14"/>
    <p:sldId id="411" r:id="rId15"/>
    <p:sldId id="429" r:id="rId16"/>
    <p:sldId id="430" r:id="rId17"/>
    <p:sldId id="431" r:id="rId18"/>
    <p:sldId id="423" r:id="rId19"/>
  </p:sldIdLst>
  <p:sldSz cx="9144000" cy="5143500" type="screen16x9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18" autoAdjust="0"/>
    <p:restoredTop sz="58272" autoAdjust="0"/>
  </p:normalViewPr>
  <p:slideViewPr>
    <p:cSldViewPr showGuides="1">
      <p:cViewPr>
        <p:scale>
          <a:sx n="100" d="100"/>
          <a:sy n="100" d="100"/>
        </p:scale>
        <p:origin x="-492" y="54"/>
      </p:cViewPr>
      <p:guideLst>
        <p:guide orient="horz" pos="1620"/>
        <p:guide pos="2880"/>
        <p:guide pos="3833"/>
        <p:guide pos="204"/>
        <p:guide pos="4241"/>
      </p:guideLst>
    </p:cSldViewPr>
  </p:slideViewPr>
  <p:outlineViewPr>
    <p:cViewPr>
      <p:scale>
        <a:sx n="33" d="100"/>
        <a:sy n="33" d="100"/>
      </p:scale>
      <p:origin x="0" y="163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563221733532969E-2"/>
          <c:y val="0.51751638706810366"/>
          <c:w val="0.95580065364483013"/>
          <c:h val="0.342010887679146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ge</c:v>
                </c:pt>
              </c:strCache>
            </c:strRef>
          </c:tx>
          <c:spPr>
            <a:solidFill>
              <a:schemeClr val="accent3"/>
            </a:solidFill>
            <a:effectLst>
              <a:outerShdw blurRad="76200" dist="25400" dir="2700000" algn="tl" rotWithShape="0">
                <a:prstClr val="black">
                  <a:alpha val="30000"/>
                </a:prstClr>
              </a:outerShdw>
            </a:effectLst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4</c:f>
              <c:strCache>
                <c:ptCount val="3"/>
                <c:pt idx="0">
                  <c:v>18 a 36 años</c:v>
                </c:pt>
                <c:pt idx="1">
                  <c:v>37 a 51 años</c:v>
                </c:pt>
                <c:pt idx="2">
                  <c:v>52 años y más</c:v>
                </c:pt>
              </c:strCache>
            </c:strRef>
          </c:cat>
          <c:val>
            <c:numRef>
              <c:f>Tabelle1!$B$7:$B$9</c:f>
              <c:numCache>
                <c:formatCode>0%</c:formatCode>
                <c:ptCount val="3"/>
                <c:pt idx="0">
                  <c:v>0.36229999999999918</c:v>
                </c:pt>
                <c:pt idx="1">
                  <c:v>0.29740000000000011</c:v>
                </c:pt>
                <c:pt idx="2">
                  <c:v>0.3402999999999994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16529536"/>
        <c:axId val="216641920"/>
      </c:barChart>
      <c:catAx>
        <c:axId val="2165295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6641920"/>
        <c:crosses val="autoZero"/>
        <c:auto val="1"/>
        <c:lblAlgn val="ctr"/>
        <c:lblOffset val="100"/>
        <c:noMultiLvlLbl val="0"/>
      </c:catAx>
      <c:valAx>
        <c:axId val="216641920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216529536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050"/>
      </a:pPr>
      <a:endParaRPr lang="es-CL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868024549425401E-3"/>
          <c:y val="0.26437247517170798"/>
          <c:w val="0.99482169233876505"/>
          <c:h val="0.503520066808439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c2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16</c:f>
              <c:strCache>
                <c:ptCount val="15"/>
                <c:pt idx="0">
                  <c:v>TOTAL</c:v>
                </c:pt>
                <c:pt idx="2">
                  <c:v>Hombre</c:v>
                </c:pt>
                <c:pt idx="3">
                  <c:v>Mujer</c:v>
                </c:pt>
                <c:pt idx="5">
                  <c:v>18-36</c:v>
                </c:pt>
                <c:pt idx="6">
                  <c:v>37-51</c:v>
                </c:pt>
                <c:pt idx="7">
                  <c:v>52+</c:v>
                </c:pt>
                <c:pt idx="9">
                  <c:v>C1</c:v>
                </c:pt>
                <c:pt idx="10">
                  <c:v>C2</c:v>
                </c:pt>
                <c:pt idx="11">
                  <c:v>C3</c:v>
                </c:pt>
                <c:pt idx="13">
                  <c:v>RM</c:v>
                </c:pt>
                <c:pt idx="14">
                  <c:v>Regiones</c:v>
                </c:pt>
              </c:strCache>
            </c:strRef>
          </c:cat>
          <c:val>
            <c:numRef>
              <c:f>Hoja1!$B$2:$B$16</c:f>
              <c:numCache>
                <c:formatCode>General</c:formatCode>
                <c:ptCount val="15"/>
                <c:pt idx="0" formatCode="###0%">
                  <c:v>0.46852845459652781</c:v>
                </c:pt>
                <c:pt idx="2" formatCode="###0%">
                  <c:v>0.46389648037704861</c:v>
                </c:pt>
                <c:pt idx="3" formatCode="###0%">
                  <c:v>0.47316042881600884</c:v>
                </c:pt>
                <c:pt idx="5" formatCode="###0%">
                  <c:v>0.54524289809789384</c:v>
                </c:pt>
                <c:pt idx="6" formatCode="###0%">
                  <c:v>0.41208758503401355</c:v>
                </c:pt>
                <c:pt idx="7" formatCode="###0%">
                  <c:v>0.4361801493580546</c:v>
                </c:pt>
                <c:pt idx="9" formatCode="###0%">
                  <c:v>0.38877604657247511</c:v>
                </c:pt>
                <c:pt idx="10" formatCode="###0%">
                  <c:v>0.4481603754922594</c:v>
                </c:pt>
                <c:pt idx="11" formatCode="###0%">
                  <c:v>0.51162582345190988</c:v>
                </c:pt>
                <c:pt idx="13" formatCode="###0%">
                  <c:v>0.44939434848106485</c:v>
                </c:pt>
                <c:pt idx="14" formatCode="###0%">
                  <c:v>0.550819053892218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EAC-4E65-93EE-BD4F9552EA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7291776"/>
        <c:axId val="297293312"/>
      </c:barChart>
      <c:catAx>
        <c:axId val="2972917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es-CL"/>
          </a:p>
        </c:txPr>
        <c:crossAx val="297293312"/>
        <c:crosses val="autoZero"/>
        <c:auto val="1"/>
        <c:lblAlgn val="ctr"/>
        <c:lblOffset val="100"/>
        <c:noMultiLvlLbl val="0"/>
      </c:catAx>
      <c:valAx>
        <c:axId val="297293312"/>
        <c:scaling>
          <c:orientation val="minMax"/>
        </c:scaling>
        <c:delete val="1"/>
        <c:axPos val="l"/>
        <c:numFmt formatCode="###0%" sourceLinked="1"/>
        <c:majorTickMark val="out"/>
        <c:minorTickMark val="none"/>
        <c:tickLblPos val="nextTo"/>
        <c:crossAx val="297291776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spPr>
    <a:ln cap="rnd">
      <a:noFill/>
    </a:ln>
  </c:spPr>
  <c:txPr>
    <a:bodyPr/>
    <a:lstStyle/>
    <a:p>
      <a:pPr>
        <a:defRPr sz="1000"/>
      </a:pPr>
      <a:endParaRPr lang="es-CL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868024549425401E-3"/>
          <c:y val="0.26437247517170798"/>
          <c:w val="0.99482169233876505"/>
          <c:h val="0.503520066808439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16</c:f>
              <c:strCache>
                <c:ptCount val="15"/>
                <c:pt idx="0">
                  <c:v>TOTAL</c:v>
                </c:pt>
                <c:pt idx="2">
                  <c:v>Hombre</c:v>
                </c:pt>
                <c:pt idx="3">
                  <c:v>Mujer</c:v>
                </c:pt>
                <c:pt idx="5">
                  <c:v>18-36</c:v>
                </c:pt>
                <c:pt idx="6">
                  <c:v>37-51</c:v>
                </c:pt>
                <c:pt idx="7">
                  <c:v>52+</c:v>
                </c:pt>
                <c:pt idx="9">
                  <c:v>C1</c:v>
                </c:pt>
                <c:pt idx="10">
                  <c:v>C2</c:v>
                </c:pt>
                <c:pt idx="11">
                  <c:v>C3</c:v>
                </c:pt>
                <c:pt idx="13">
                  <c:v>RM</c:v>
                </c:pt>
                <c:pt idx="14">
                  <c:v>Regiones</c:v>
                </c:pt>
              </c:strCache>
            </c:strRef>
          </c:cat>
          <c:val>
            <c:numRef>
              <c:f>Hoja1!$B$2:$B$16</c:f>
              <c:numCache>
                <c:formatCode>General</c:formatCode>
                <c:ptCount val="15"/>
                <c:pt idx="0" formatCode="###0%">
                  <c:v>0.31275700851025123</c:v>
                </c:pt>
                <c:pt idx="2" formatCode="###0%">
                  <c:v>0.30332994620906811</c:v>
                </c:pt>
                <c:pt idx="3" formatCode="###0%">
                  <c:v>0.3221840708114358</c:v>
                </c:pt>
                <c:pt idx="5" formatCode="###0%">
                  <c:v>0.35928890412701742</c:v>
                </c:pt>
                <c:pt idx="6" formatCode="###0%">
                  <c:v>0.29542261904761902</c:v>
                </c:pt>
                <c:pt idx="7" formatCode="###0%">
                  <c:v>0.27836600540779166</c:v>
                </c:pt>
                <c:pt idx="9" formatCode="###0%">
                  <c:v>0.32367470238095225</c:v>
                </c:pt>
                <c:pt idx="10" formatCode="###0%">
                  <c:v>0.31156216981391588</c:v>
                </c:pt>
                <c:pt idx="11" formatCode="###0%">
                  <c:v>0.30976156181378983</c:v>
                </c:pt>
                <c:pt idx="13" formatCode="###0%">
                  <c:v>0.33550284090207438</c:v>
                </c:pt>
                <c:pt idx="14" formatCode="###0%">
                  <c:v>0.214933354365798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EAC-4E65-93EE-BD4F9552EA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7326080"/>
        <c:axId val="297327616"/>
      </c:barChart>
      <c:catAx>
        <c:axId val="2973260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es-CL"/>
          </a:p>
        </c:txPr>
        <c:crossAx val="297327616"/>
        <c:crosses val="autoZero"/>
        <c:auto val="1"/>
        <c:lblAlgn val="ctr"/>
        <c:lblOffset val="100"/>
        <c:noMultiLvlLbl val="0"/>
      </c:catAx>
      <c:valAx>
        <c:axId val="297327616"/>
        <c:scaling>
          <c:orientation val="minMax"/>
        </c:scaling>
        <c:delete val="1"/>
        <c:axPos val="l"/>
        <c:numFmt formatCode="###0%" sourceLinked="1"/>
        <c:majorTickMark val="out"/>
        <c:minorTickMark val="none"/>
        <c:tickLblPos val="nextTo"/>
        <c:crossAx val="297326080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spPr>
    <a:ln cap="rnd">
      <a:noFill/>
    </a:ln>
  </c:spPr>
  <c:txPr>
    <a:bodyPr/>
    <a:lstStyle/>
    <a:p>
      <a:pPr>
        <a:defRPr sz="1000"/>
      </a:pPr>
      <a:endParaRPr lang="es-CL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868024549425401E-3"/>
          <c:y val="0.26437247517170798"/>
          <c:w val="0.99482169233876505"/>
          <c:h val="0.503520066808439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c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16</c:f>
              <c:strCache>
                <c:ptCount val="15"/>
                <c:pt idx="0">
                  <c:v>TOTAL</c:v>
                </c:pt>
                <c:pt idx="2">
                  <c:v>Hombre</c:v>
                </c:pt>
                <c:pt idx="3">
                  <c:v>Mujer</c:v>
                </c:pt>
                <c:pt idx="5">
                  <c:v>18-36</c:v>
                </c:pt>
                <c:pt idx="6">
                  <c:v>37-51</c:v>
                </c:pt>
                <c:pt idx="7">
                  <c:v>52+</c:v>
                </c:pt>
                <c:pt idx="9">
                  <c:v>C1</c:v>
                </c:pt>
                <c:pt idx="10">
                  <c:v>C2</c:v>
                </c:pt>
                <c:pt idx="11">
                  <c:v>C3</c:v>
                </c:pt>
                <c:pt idx="13">
                  <c:v>RM</c:v>
                </c:pt>
                <c:pt idx="14">
                  <c:v>Regiones</c:v>
                </c:pt>
              </c:strCache>
            </c:strRef>
          </c:cat>
          <c:val>
            <c:numRef>
              <c:f>Hoja1!$B$2:$B$16</c:f>
              <c:numCache>
                <c:formatCode>General</c:formatCode>
                <c:ptCount val="15"/>
                <c:pt idx="0" formatCode="###0%">
                  <c:v>0.24923973014069753</c:v>
                </c:pt>
                <c:pt idx="2" formatCode="###0%">
                  <c:v>0.27389013494239728</c:v>
                </c:pt>
                <c:pt idx="3" formatCode="###0%">
                  <c:v>0.22458932533899906</c:v>
                </c:pt>
                <c:pt idx="5" formatCode="###0%">
                  <c:v>0.27401987569425151</c:v>
                </c:pt>
                <c:pt idx="6" formatCode="###0%">
                  <c:v>0.24632482993197269</c:v>
                </c:pt>
                <c:pt idx="7" formatCode="###0%">
                  <c:v>0.22540500956480153</c:v>
                </c:pt>
                <c:pt idx="9" formatCode="###0%">
                  <c:v>0.28676740471829743</c:v>
                </c:pt>
                <c:pt idx="10" formatCode="###0%">
                  <c:v>0.22278584282321773</c:v>
                </c:pt>
                <c:pt idx="11" formatCode="###0%">
                  <c:v>0.25523797156346045</c:v>
                </c:pt>
                <c:pt idx="13" formatCode="###0%">
                  <c:v>0.27350765932212662</c:v>
                </c:pt>
                <c:pt idx="14" formatCode="###0%">
                  <c:v>0.144869950650911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EAC-4E65-93EE-BD4F9552EA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2249472"/>
        <c:axId val="297861888"/>
      </c:barChart>
      <c:catAx>
        <c:axId val="2622494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es-CL"/>
          </a:p>
        </c:txPr>
        <c:crossAx val="297861888"/>
        <c:crosses val="autoZero"/>
        <c:auto val="1"/>
        <c:lblAlgn val="ctr"/>
        <c:lblOffset val="100"/>
        <c:noMultiLvlLbl val="0"/>
      </c:catAx>
      <c:valAx>
        <c:axId val="297861888"/>
        <c:scaling>
          <c:orientation val="minMax"/>
        </c:scaling>
        <c:delete val="1"/>
        <c:axPos val="l"/>
        <c:numFmt formatCode="###0%" sourceLinked="1"/>
        <c:majorTickMark val="out"/>
        <c:minorTickMark val="none"/>
        <c:tickLblPos val="nextTo"/>
        <c:crossAx val="262249472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spPr>
    <a:ln cap="rnd">
      <a:noFill/>
    </a:ln>
  </c:spPr>
  <c:txPr>
    <a:bodyPr/>
    <a:lstStyle/>
    <a:p>
      <a:pPr>
        <a:defRPr sz="1000"/>
      </a:pPr>
      <a:endParaRPr lang="es-CL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868024549425401E-3"/>
          <c:y val="0.26437247517170798"/>
          <c:w val="0.99482169233876505"/>
          <c:h val="0.503520066808439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c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16</c:f>
              <c:strCache>
                <c:ptCount val="15"/>
                <c:pt idx="0">
                  <c:v>TOTAL</c:v>
                </c:pt>
                <c:pt idx="2">
                  <c:v>Hombre</c:v>
                </c:pt>
                <c:pt idx="3">
                  <c:v>Mujer</c:v>
                </c:pt>
                <c:pt idx="5">
                  <c:v>18-36</c:v>
                </c:pt>
                <c:pt idx="6">
                  <c:v>37-51</c:v>
                </c:pt>
                <c:pt idx="7">
                  <c:v>52+</c:v>
                </c:pt>
                <c:pt idx="9">
                  <c:v>C1</c:v>
                </c:pt>
                <c:pt idx="10">
                  <c:v>C2</c:v>
                </c:pt>
                <c:pt idx="11">
                  <c:v>C3</c:v>
                </c:pt>
                <c:pt idx="13">
                  <c:v>RM</c:v>
                </c:pt>
                <c:pt idx="14">
                  <c:v>Regiones</c:v>
                </c:pt>
              </c:strCache>
            </c:strRef>
          </c:cat>
          <c:val>
            <c:numRef>
              <c:f>Hoja1!$B$2:$B$16</c:f>
              <c:numCache>
                <c:formatCode>General</c:formatCode>
                <c:ptCount val="15"/>
                <c:pt idx="0" formatCode="###0%">
                  <c:v>0.22466704435694015</c:v>
                </c:pt>
                <c:pt idx="2" formatCode="###0%">
                  <c:v>0.23716863126501489</c:v>
                </c:pt>
                <c:pt idx="3" formatCode="###0%">
                  <c:v>0.21216545744886639</c:v>
                </c:pt>
                <c:pt idx="5" formatCode="###0%">
                  <c:v>0.25665311587374506</c:v>
                </c:pt>
                <c:pt idx="6" formatCode="###0%">
                  <c:v>0.23979421768707465</c:v>
                </c:pt>
                <c:pt idx="7" formatCode="###0%">
                  <c:v>0.17739294779825626</c:v>
                </c:pt>
                <c:pt idx="9" formatCode="###0%">
                  <c:v>0.25361099119134822</c:v>
                </c:pt>
                <c:pt idx="10" formatCode="###0%">
                  <c:v>0.24204425248822939</c:v>
                </c:pt>
                <c:pt idx="11" formatCode="###0%">
                  <c:v>0.20174518225735596</c:v>
                </c:pt>
                <c:pt idx="13" formatCode="###0%">
                  <c:v>0.22883011999064448</c:v>
                </c:pt>
                <c:pt idx="14" formatCode="###0%">
                  <c:v>0.2067627855040057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EAC-4E65-93EE-BD4F9552EA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940096"/>
        <c:axId val="299433984"/>
      </c:barChart>
      <c:catAx>
        <c:axId val="299940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es-CL"/>
          </a:p>
        </c:txPr>
        <c:crossAx val="299433984"/>
        <c:crosses val="autoZero"/>
        <c:auto val="1"/>
        <c:lblAlgn val="ctr"/>
        <c:lblOffset val="100"/>
        <c:noMultiLvlLbl val="0"/>
      </c:catAx>
      <c:valAx>
        <c:axId val="299433984"/>
        <c:scaling>
          <c:orientation val="minMax"/>
        </c:scaling>
        <c:delete val="1"/>
        <c:axPos val="l"/>
        <c:numFmt formatCode="###0%" sourceLinked="1"/>
        <c:majorTickMark val="out"/>
        <c:minorTickMark val="none"/>
        <c:tickLblPos val="nextTo"/>
        <c:crossAx val="299940096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spPr>
    <a:ln cap="rnd">
      <a:noFill/>
    </a:ln>
  </c:spPr>
  <c:txPr>
    <a:bodyPr/>
    <a:lstStyle/>
    <a:p>
      <a:pPr>
        <a:defRPr sz="1000"/>
      </a:pPr>
      <a:endParaRPr lang="es-CL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868024549425401E-3"/>
          <c:y val="0.26437247517170798"/>
          <c:w val="0.99482169233876505"/>
          <c:h val="0.503520066808439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c2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16</c:f>
              <c:strCache>
                <c:ptCount val="15"/>
                <c:pt idx="0">
                  <c:v>TOTAL</c:v>
                </c:pt>
                <c:pt idx="2">
                  <c:v>Hombre</c:v>
                </c:pt>
                <c:pt idx="3">
                  <c:v>Mujer</c:v>
                </c:pt>
                <c:pt idx="5">
                  <c:v>18-36</c:v>
                </c:pt>
                <c:pt idx="6">
                  <c:v>37-51</c:v>
                </c:pt>
                <c:pt idx="7">
                  <c:v>52+</c:v>
                </c:pt>
                <c:pt idx="9">
                  <c:v>C1</c:v>
                </c:pt>
                <c:pt idx="10">
                  <c:v>C2</c:v>
                </c:pt>
                <c:pt idx="11">
                  <c:v>C3</c:v>
                </c:pt>
                <c:pt idx="13">
                  <c:v>RM</c:v>
                </c:pt>
                <c:pt idx="14">
                  <c:v>Regiones</c:v>
                </c:pt>
              </c:strCache>
            </c:strRef>
          </c:cat>
          <c:val>
            <c:numRef>
              <c:f>Hoja1!$B$2:$B$16</c:f>
              <c:numCache>
                <c:formatCode>General</c:formatCode>
                <c:ptCount val="15"/>
                <c:pt idx="0" formatCode="###0%">
                  <c:v>0.15994560374489417</c:v>
                </c:pt>
                <c:pt idx="2" formatCode="###0%">
                  <c:v>0.20346085819053697</c:v>
                </c:pt>
                <c:pt idx="3" formatCode="###0%">
                  <c:v>0.11643034929925172</c:v>
                </c:pt>
                <c:pt idx="5" formatCode="###0%">
                  <c:v>0.22294689853778674</c:v>
                </c:pt>
                <c:pt idx="6" formatCode="###0%">
                  <c:v>0.17240476190476176</c:v>
                </c:pt>
                <c:pt idx="7" formatCode="###0%">
                  <c:v>8.1982856932641721E-2</c:v>
                </c:pt>
                <c:pt idx="9" formatCode="###0%">
                  <c:v>0.20684963369963361</c:v>
                </c:pt>
                <c:pt idx="10" formatCode="###0%">
                  <c:v>0.14637863431624695</c:v>
                </c:pt>
                <c:pt idx="11" formatCode="###0%">
                  <c:v>0.15322634167764587</c:v>
                </c:pt>
                <c:pt idx="13" formatCode="###0%">
                  <c:v>0.1695658882783459</c:v>
                </c:pt>
                <c:pt idx="14" formatCode="###0%">
                  <c:v>0.118571369961745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EAC-4E65-93EE-BD4F9552EA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3568"/>
        <c:axId val="256175104"/>
      </c:barChart>
      <c:catAx>
        <c:axId val="2561735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es-CL"/>
          </a:p>
        </c:txPr>
        <c:crossAx val="256175104"/>
        <c:crosses val="autoZero"/>
        <c:auto val="1"/>
        <c:lblAlgn val="ctr"/>
        <c:lblOffset val="100"/>
        <c:noMultiLvlLbl val="0"/>
      </c:catAx>
      <c:valAx>
        <c:axId val="256175104"/>
        <c:scaling>
          <c:orientation val="minMax"/>
        </c:scaling>
        <c:delete val="1"/>
        <c:axPos val="l"/>
        <c:numFmt formatCode="###0%" sourceLinked="1"/>
        <c:majorTickMark val="out"/>
        <c:minorTickMark val="none"/>
        <c:tickLblPos val="nextTo"/>
        <c:crossAx val="256173568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spPr>
    <a:ln cap="rnd">
      <a:noFill/>
    </a:ln>
  </c:spPr>
  <c:txPr>
    <a:bodyPr/>
    <a:lstStyle/>
    <a:p>
      <a:pPr>
        <a:defRPr sz="1000"/>
      </a:pPr>
      <a:endParaRPr lang="es-CL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5 millones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05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4</c:f>
              <c:strCache>
                <c:ptCount val="13"/>
                <c:pt idx="0">
                  <c:v>Pagaría parte de mis deudas</c:v>
                </c:pt>
                <c:pt idx="1">
                  <c:v>Dar un pie para una vivienda</c:v>
                </c:pt>
                <c:pt idx="2">
                  <c:v>Emprender</c:v>
                </c:pt>
                <c:pt idx="3">
                  <c:v>Ayudar a mi familia</c:v>
                </c:pt>
                <c:pt idx="4">
                  <c:v>Asegurar la educación de mis hijos</c:v>
                </c:pt>
                <c:pt idx="5">
                  <c:v>Tomarme vacaciones y guardar lo demás</c:v>
                </c:pt>
                <c:pt idx="6">
                  <c:v>Hacer un mega viaje por varios meses</c:v>
                </c:pt>
                <c:pt idx="7">
                  <c:v>Pagaría parte de mis estudios</c:v>
                </c:pt>
                <c:pt idx="8">
                  <c:v>Irme a estudiar afuera</c:v>
                </c:pt>
                <c:pt idx="9">
                  <c:v>Comprarme muchas cosas</c:v>
                </c:pt>
                <c:pt idx="10">
                  <c:v>Hacer una fiesta inolvidable</c:v>
                </c:pt>
                <c:pt idx="11">
                  <c:v>Casarme en grande</c:v>
                </c:pt>
                <c:pt idx="12">
                  <c:v>Quiero ahorrar</c:v>
                </c:pt>
              </c:strCache>
            </c:strRef>
          </c:cat>
          <c:val>
            <c:numRef>
              <c:f>Hoja1!$B$2:$B$14</c:f>
              <c:numCache>
                <c:formatCode>###0%</c:formatCode>
                <c:ptCount val="13"/>
                <c:pt idx="0">
                  <c:v>0.45768304886107097</c:v>
                </c:pt>
                <c:pt idx="1">
                  <c:v>0.38387022556036804</c:v>
                </c:pt>
                <c:pt idx="2">
                  <c:v>0.3137544034011539</c:v>
                </c:pt>
                <c:pt idx="3">
                  <c:v>0.29374340596356935</c:v>
                </c:pt>
                <c:pt idx="4">
                  <c:v>0.2397407548801278</c:v>
                </c:pt>
                <c:pt idx="5">
                  <c:v>0.20273912505220257</c:v>
                </c:pt>
                <c:pt idx="6">
                  <c:v>0.14314577289104929</c:v>
                </c:pt>
                <c:pt idx="7">
                  <c:v>8.3842671323960283E-2</c:v>
                </c:pt>
                <c:pt idx="8">
                  <c:v>2.6014799153669606E-2</c:v>
                </c:pt>
                <c:pt idx="9">
                  <c:v>1.9673470834677725E-2</c:v>
                </c:pt>
                <c:pt idx="10">
                  <c:v>1.2094499014990601E-2</c:v>
                </c:pt>
                <c:pt idx="11">
                  <c:v>8.7285947639830549E-3</c:v>
                </c:pt>
                <c:pt idx="12">
                  <c:v>7.1545833114615128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816832"/>
        <c:axId val="299818368"/>
      </c:barChart>
      <c:catAx>
        <c:axId val="299816832"/>
        <c:scaling>
          <c:orientation val="maxMin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es-CL"/>
          </a:p>
        </c:txPr>
        <c:crossAx val="299818368"/>
        <c:crosses val="autoZero"/>
        <c:auto val="1"/>
        <c:lblAlgn val="ctr"/>
        <c:lblOffset val="100"/>
        <c:noMultiLvlLbl val="0"/>
      </c:catAx>
      <c:valAx>
        <c:axId val="299818368"/>
        <c:scaling>
          <c:orientation val="minMax"/>
        </c:scaling>
        <c:delete val="1"/>
        <c:axPos val="t"/>
        <c:numFmt formatCode="###0%" sourceLinked="1"/>
        <c:majorTickMark val="out"/>
        <c:minorTickMark val="none"/>
        <c:tickLblPos val="nextTo"/>
        <c:crossAx val="29981683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txPr>
              <a:bodyPr/>
              <a:lstStyle/>
              <a:p>
                <a:pPr>
                  <a:defRPr sz="105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3</c:f>
              <c:strCache>
                <c:ptCount val="12"/>
                <c:pt idx="0">
                  <c:v>Pagaría parte de mis deudas</c:v>
                </c:pt>
                <c:pt idx="1">
                  <c:v>Hacer un viaje</c:v>
                </c:pt>
                <c:pt idx="2">
                  <c:v>Arreglaría mi casa</c:v>
                </c:pt>
                <c:pt idx="3">
                  <c:v>Lo pondría de pie para una vivienda</c:v>
                </c:pt>
                <c:pt idx="4">
                  <c:v>Hacer una escapada con alguien (pareja/amiga(o))</c:v>
                </c:pt>
                <c:pt idx="5">
                  <c:v>Pagaría parte de mis estudios</c:v>
                </c:pt>
                <c:pt idx="6">
                  <c:v>Comprarme ropa</c:v>
                </c:pt>
                <c:pt idx="7">
                  <c:v>Invertir en algo/emprender</c:v>
                </c:pt>
                <c:pt idx="8">
                  <c:v>Quiero ahorrar</c:v>
                </c:pt>
                <c:pt idx="9">
                  <c:v>Comprarme tecnología</c:v>
                </c:pt>
                <c:pt idx="10">
                  <c:v>Ayudar a mi familia</c:v>
                </c:pt>
                <c:pt idx="11">
                  <c:v>Hacer un tratamiento</c:v>
                </c:pt>
              </c:strCache>
            </c:strRef>
          </c:cat>
          <c:val>
            <c:numRef>
              <c:f>Hoja1!$B$2:$B$13</c:f>
              <c:numCache>
                <c:formatCode>###0%</c:formatCode>
                <c:ptCount val="12"/>
                <c:pt idx="0">
                  <c:v>0.53935677240402402</c:v>
                </c:pt>
                <c:pt idx="1">
                  <c:v>0.29937773736872225</c:v>
                </c:pt>
                <c:pt idx="2">
                  <c:v>0.25032603134478015</c:v>
                </c:pt>
                <c:pt idx="3">
                  <c:v>0.22280234352016531</c:v>
                </c:pt>
                <c:pt idx="4">
                  <c:v>0.194571826468911</c:v>
                </c:pt>
                <c:pt idx="5">
                  <c:v>9.5551762055751915E-2</c:v>
                </c:pt>
                <c:pt idx="6">
                  <c:v>4.4178712340215753E-2</c:v>
                </c:pt>
                <c:pt idx="7">
                  <c:v>4.0503889085026751E-2</c:v>
                </c:pt>
                <c:pt idx="8">
                  <c:v>3.3271391667618076E-2</c:v>
                </c:pt>
                <c:pt idx="9">
                  <c:v>2.8304848401150592E-2</c:v>
                </c:pt>
                <c:pt idx="10">
                  <c:v>2.0117448859347319E-2</c:v>
                </c:pt>
                <c:pt idx="11">
                  <c:v>6.700836527559738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64608"/>
        <c:axId val="257536768"/>
      </c:barChart>
      <c:catAx>
        <c:axId val="256164608"/>
        <c:scaling>
          <c:orientation val="maxMin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es-CL"/>
          </a:p>
        </c:txPr>
        <c:crossAx val="257536768"/>
        <c:crosses val="autoZero"/>
        <c:auto val="1"/>
        <c:lblAlgn val="ctr"/>
        <c:lblOffset val="100"/>
        <c:noMultiLvlLbl val="0"/>
      </c:catAx>
      <c:valAx>
        <c:axId val="257536768"/>
        <c:scaling>
          <c:orientation val="minMax"/>
        </c:scaling>
        <c:delete val="1"/>
        <c:axPos val="t"/>
        <c:numFmt formatCode="###0%" sourceLinked="1"/>
        <c:majorTickMark val="out"/>
        <c:minorTickMark val="none"/>
        <c:tickLblPos val="nextTo"/>
        <c:crossAx val="2561646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txPr>
              <a:bodyPr/>
              <a:lstStyle/>
              <a:p>
                <a:pPr>
                  <a:defRPr sz="105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4</c:f>
              <c:strCache>
                <c:ptCount val="13"/>
                <c:pt idx="0">
                  <c:v>Pagaría parte de mis deudas</c:v>
                </c:pt>
                <c:pt idx="1">
                  <c:v>Arreglaría mi casa</c:v>
                </c:pt>
                <c:pt idx="2">
                  <c:v>Me iría a algún lugar entretenido por todo el fin de semana</c:v>
                </c:pt>
                <c:pt idx="3">
                  <c:v>Haría un viaje</c:v>
                </c:pt>
                <c:pt idx="4">
                  <c:v>Lo pondría de pie para una vivienda</c:v>
                </c:pt>
                <c:pt idx="5">
                  <c:v>Invitaría a comer a toda mi familia y amigos</c:v>
                </c:pt>
                <c:pt idx="6">
                  <c:v>Pagaría parte de mis estudios</c:v>
                </c:pt>
                <c:pt idx="7">
                  <c:v>Comprarme ropa</c:v>
                </c:pt>
                <c:pt idx="8">
                  <c:v>Quiero ahorrar</c:v>
                </c:pt>
                <c:pt idx="9">
                  <c:v>Invertir en algún negocio</c:v>
                </c:pt>
                <c:pt idx="10">
                  <c:v>Comprarme tecnología</c:v>
                </c:pt>
                <c:pt idx="11">
                  <c:v>Ayudar a mi familia/otras personas</c:v>
                </c:pt>
                <c:pt idx="12">
                  <c:v>Haría una fiesta</c:v>
                </c:pt>
              </c:strCache>
            </c:strRef>
          </c:cat>
          <c:val>
            <c:numRef>
              <c:f>Hoja1!$B$2:$B$14</c:f>
              <c:numCache>
                <c:formatCode>###0%</c:formatCode>
                <c:ptCount val="13"/>
                <c:pt idx="0">
                  <c:v>0.48239054861061265</c:v>
                </c:pt>
                <c:pt idx="1">
                  <c:v>0.2561276008097475</c:v>
                </c:pt>
                <c:pt idx="2">
                  <c:v>0.23631083382456189</c:v>
                </c:pt>
                <c:pt idx="3">
                  <c:v>0.21138720070744541</c:v>
                </c:pt>
                <c:pt idx="4">
                  <c:v>0.18074352806808458</c:v>
                </c:pt>
                <c:pt idx="5">
                  <c:v>0.14410868492443893</c:v>
                </c:pt>
                <c:pt idx="6">
                  <c:v>8.2009683597218122E-2</c:v>
                </c:pt>
                <c:pt idx="7">
                  <c:v>7.7358789898440833E-2</c:v>
                </c:pt>
                <c:pt idx="8">
                  <c:v>5.1960838713389787E-2</c:v>
                </c:pt>
                <c:pt idx="9">
                  <c:v>3.9800767733417376E-2</c:v>
                </c:pt>
                <c:pt idx="10">
                  <c:v>2.8283886783729811E-2</c:v>
                </c:pt>
                <c:pt idx="11">
                  <c:v>1.9406902503055951E-2</c:v>
                </c:pt>
                <c:pt idx="12">
                  <c:v>1.326481333224778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0242048"/>
        <c:axId val="300243584"/>
      </c:barChart>
      <c:catAx>
        <c:axId val="300242048"/>
        <c:scaling>
          <c:orientation val="maxMin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es-CL"/>
          </a:p>
        </c:txPr>
        <c:crossAx val="300243584"/>
        <c:crosses val="autoZero"/>
        <c:auto val="1"/>
        <c:lblAlgn val="ctr"/>
        <c:lblOffset val="100"/>
        <c:noMultiLvlLbl val="0"/>
      </c:catAx>
      <c:valAx>
        <c:axId val="300243584"/>
        <c:scaling>
          <c:orientation val="minMax"/>
        </c:scaling>
        <c:delete val="1"/>
        <c:axPos val="t"/>
        <c:numFmt formatCode="###0%" sourceLinked="1"/>
        <c:majorTickMark val="out"/>
        <c:minorTickMark val="none"/>
        <c:tickLblPos val="nextTo"/>
        <c:crossAx val="30024204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563221733532969E-2"/>
          <c:y val="0.22827074769470063"/>
          <c:w val="0.95580065364483013"/>
          <c:h val="0.631256527052549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ge</c:v>
                </c:pt>
              </c:strCache>
            </c:strRef>
          </c:tx>
          <c:spPr>
            <a:solidFill>
              <a:schemeClr val="accent1"/>
            </a:solidFill>
            <a:effectLst>
              <a:outerShdw blurRad="76200" dist="25400" dir="2700000" algn="tl" rotWithShape="0">
                <a:prstClr val="black">
                  <a:alpha val="30000"/>
                </a:prstClr>
              </a:outerShdw>
            </a:effectLst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4</c:f>
              <c:strCache>
                <c:ptCount val="3"/>
                <c:pt idx="0">
                  <c:v>ABC1</c:v>
                </c:pt>
                <c:pt idx="1">
                  <c:v>C2</c:v>
                </c:pt>
                <c:pt idx="2">
                  <c:v>C3</c:v>
                </c:pt>
              </c:strCache>
            </c:strRef>
          </c:cat>
          <c:val>
            <c:numRef>
              <c:f>Tabelle1!$B$2:$B$4</c:f>
              <c:numCache>
                <c:formatCode>###0.0%</c:formatCode>
                <c:ptCount val="3"/>
                <c:pt idx="0">
                  <c:v>0.17</c:v>
                </c:pt>
                <c:pt idx="1">
                  <c:v>0.35</c:v>
                </c:pt>
                <c:pt idx="2">
                  <c:v>0.4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4488576"/>
        <c:axId val="84490112"/>
      </c:barChart>
      <c:catAx>
        <c:axId val="844885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84490112"/>
        <c:crosses val="autoZero"/>
        <c:auto val="1"/>
        <c:lblAlgn val="ctr"/>
        <c:lblOffset val="100"/>
        <c:noMultiLvlLbl val="0"/>
      </c:catAx>
      <c:valAx>
        <c:axId val="84490112"/>
        <c:scaling>
          <c:orientation val="minMax"/>
        </c:scaling>
        <c:delete val="1"/>
        <c:axPos val="l"/>
        <c:numFmt formatCode="###0.0%" sourceLinked="1"/>
        <c:majorTickMark val="out"/>
        <c:minorTickMark val="none"/>
        <c:tickLblPos val="none"/>
        <c:crossAx val="84488576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050"/>
      </a:pPr>
      <a:endParaRPr lang="es-CL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914730827408151E-2"/>
          <c:y val="5.0719626298858407E-2"/>
          <c:w val="0.89017053834518367"/>
          <c:h val="0.763477476026323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txPr>
              <a:bodyPr/>
              <a:lstStyle/>
              <a:p>
                <a:pPr>
                  <a:defRPr sz="110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3</c:f>
              <c:strCache>
                <c:ptCount val="2"/>
                <c:pt idx="0">
                  <c:v>RM</c:v>
                </c:pt>
                <c:pt idx="1">
                  <c:v>Otras Regiones</c:v>
                </c:pt>
              </c:strCache>
            </c:strRef>
          </c:cat>
          <c:val>
            <c:numRef>
              <c:f>Hoja1!$B$2:$B$3</c:f>
              <c:numCache>
                <c:formatCode>###0%</c:formatCode>
                <c:ptCount val="2"/>
                <c:pt idx="0">
                  <c:v>0.81134669272246496</c:v>
                </c:pt>
                <c:pt idx="1">
                  <c:v>0.1886533072775334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3118848"/>
        <c:axId val="223120384"/>
      </c:barChart>
      <c:catAx>
        <c:axId val="22311884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es-CL"/>
          </a:p>
        </c:txPr>
        <c:crossAx val="223120384"/>
        <c:crosses val="autoZero"/>
        <c:auto val="1"/>
        <c:lblAlgn val="ctr"/>
        <c:lblOffset val="100"/>
        <c:noMultiLvlLbl val="0"/>
      </c:catAx>
      <c:valAx>
        <c:axId val="223120384"/>
        <c:scaling>
          <c:orientation val="minMax"/>
        </c:scaling>
        <c:delete val="1"/>
        <c:axPos val="l"/>
        <c:numFmt formatCode="###0%" sourceLinked="1"/>
        <c:majorTickMark val="out"/>
        <c:minorTickMark val="none"/>
        <c:tickLblPos val="nextTo"/>
        <c:crossAx val="2231188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8423097112860891"/>
          <c:y val="7.8877386574264102E-2"/>
          <c:w val="0.49076902887139107"/>
          <c:h val="0.883398645933696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3"/>
              </a:solidFill>
            </c:spPr>
          </c:dPt>
          <c:dPt>
            <c:idx val="4"/>
            <c:invertIfNegative val="0"/>
            <c:bubble3D val="0"/>
            <c:spPr>
              <a:solidFill>
                <a:schemeClr val="accent5"/>
              </a:solidFill>
            </c:spPr>
          </c:dPt>
          <c:dPt>
            <c:idx val="5"/>
            <c:invertIfNegative val="0"/>
            <c:bubble3D val="0"/>
            <c:spPr>
              <a:solidFill>
                <a:schemeClr val="accent6"/>
              </a:solidFill>
            </c:spPr>
          </c:dPt>
          <c:dPt>
            <c:idx val="6"/>
            <c:invertIfNegative val="0"/>
            <c:bubble3D val="0"/>
            <c:spPr>
              <a:solidFill>
                <a:schemeClr val="bg2"/>
              </a:solidFill>
            </c:spPr>
          </c:dPt>
          <c:dLbls>
            <c:txPr>
              <a:bodyPr/>
              <a:lstStyle/>
              <a:p>
                <a:pPr>
                  <a:defRPr sz="1100"/>
                </a:pPr>
                <a:endParaRPr lang="es-C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2</c:f>
              <c:strCache>
                <c:ptCount val="11"/>
                <c:pt idx="0">
                  <c:v>Viajar por todo el mundo</c:v>
                </c:pt>
                <c:pt idx="1">
                  <c:v>Ver a mis hijos formando su propia familia</c:v>
                </c:pt>
                <c:pt idx="2">
                  <c:v>Ninguna de éstas</c:v>
                </c:pt>
                <c:pt idx="3">
                  <c:v>Dejar de trabajar por un tiempo</c:v>
                </c:pt>
                <c:pt idx="4">
                  <c:v>Formar una familia</c:v>
                </c:pt>
                <c:pt idx="5">
                  <c:v>Conocer al amor de mi vida</c:v>
                </c:pt>
                <c:pt idx="6">
                  <c:v>Tener un hijo</c:v>
                </c:pt>
                <c:pt idx="7">
                  <c:v>Reconciliarme con un miembro de mi familia / amigo</c:v>
                </c:pt>
                <c:pt idx="8">
                  <c:v>Volver a la ciudad / país en el que nací</c:v>
                </c:pt>
                <c:pt idx="9">
                  <c:v>Volver a reencontrarme con un amigo de infancia</c:v>
                </c:pt>
                <c:pt idx="10">
                  <c:v>Conocer a mi ídolo / ídola</c:v>
                </c:pt>
              </c:strCache>
            </c:strRef>
          </c:cat>
          <c:val>
            <c:numRef>
              <c:f>Hoja1!$B$2:$B$12</c:f>
              <c:numCache>
                <c:formatCode>###0%</c:formatCode>
                <c:ptCount val="11"/>
                <c:pt idx="0">
                  <c:v>0.44733871709330486</c:v>
                </c:pt>
                <c:pt idx="1">
                  <c:v>0.32568587263071186</c:v>
                </c:pt>
                <c:pt idx="2">
                  <c:v>0.14853751137328253</c:v>
                </c:pt>
                <c:pt idx="3">
                  <c:v>0.14745742001547893</c:v>
                </c:pt>
                <c:pt idx="4">
                  <c:v>0.10636205458041773</c:v>
                </c:pt>
                <c:pt idx="5">
                  <c:v>7.791435149013573E-2</c:v>
                </c:pt>
                <c:pt idx="6">
                  <c:v>5.5584705063023501E-2</c:v>
                </c:pt>
                <c:pt idx="7">
                  <c:v>3.9896705786972124E-2</c:v>
                </c:pt>
                <c:pt idx="8">
                  <c:v>3.4423350066362199E-2</c:v>
                </c:pt>
                <c:pt idx="9">
                  <c:v>1.9427189456250403E-2</c:v>
                </c:pt>
                <c:pt idx="10">
                  <c:v>1.4154891401909316E-2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23251456"/>
        <c:axId val="223277056"/>
      </c:barChart>
      <c:catAx>
        <c:axId val="223251456"/>
        <c:scaling>
          <c:orientation val="maxMin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CL"/>
          </a:p>
        </c:txPr>
        <c:crossAx val="223277056"/>
        <c:crosses val="autoZero"/>
        <c:auto val="1"/>
        <c:lblAlgn val="ctr"/>
        <c:lblOffset val="100"/>
        <c:noMultiLvlLbl val="0"/>
      </c:catAx>
      <c:valAx>
        <c:axId val="223277056"/>
        <c:scaling>
          <c:orientation val="minMax"/>
        </c:scaling>
        <c:delete val="1"/>
        <c:axPos val="t"/>
        <c:numFmt formatCode="###0%" sourceLinked="1"/>
        <c:majorTickMark val="out"/>
        <c:minorTickMark val="none"/>
        <c:tickLblPos val="nextTo"/>
        <c:crossAx val="2232514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s-CL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105380577427819"/>
          <c:y val="3.4375000000000003E-2"/>
          <c:w val="0.17269619422572177"/>
          <c:h val="0.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</c:spPr>
          </c:dPt>
          <c:dLbls>
            <c:txPr>
              <a:bodyPr/>
              <a:lstStyle/>
              <a:p>
                <a:pPr>
                  <a:defRPr sz="100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2</c:f>
              <c:strCache>
                <c:ptCount val="11"/>
                <c:pt idx="0">
                  <c:v>Quiero viajar</c:v>
                </c:pt>
                <c:pt idx="1">
                  <c:v>Tener casa propia</c:v>
                </c:pt>
                <c:pt idx="2">
                  <c:v>Emprender/tener propia empresa</c:v>
                </c:pt>
                <c:pt idx="3">
                  <c:v>Otros</c:v>
                </c:pt>
                <c:pt idx="4">
                  <c:v>Quiero estudiar/ terminar mis estudios</c:v>
                </c:pt>
                <c:pt idx="5">
                  <c:v>Quiero tener hijos/familia</c:v>
                </c:pt>
                <c:pt idx="6">
                  <c:v>Quiero independizarme</c:v>
                </c:pt>
                <c:pt idx="7">
                  <c:v>Quiero jubilarme/tener vejez digna</c:v>
                </c:pt>
                <c:pt idx="8">
                  <c:v>Vivir en otro país/otra parte/cambiar de casa</c:v>
                </c:pt>
                <c:pt idx="9">
                  <c:v>Tener un trabajo/ uno estable/bien remunerado</c:v>
                </c:pt>
                <c:pt idx="10">
                  <c:v>Quiero crecer profesionalmente</c:v>
                </c:pt>
              </c:strCache>
            </c:strRef>
          </c:cat>
          <c:val>
            <c:numRef>
              <c:f>Hoja1!$B$2:$B$12</c:f>
              <c:numCache>
                <c:formatCode>###0%</c:formatCode>
                <c:ptCount val="11"/>
                <c:pt idx="0">
                  <c:v>0.40848221372996302</c:v>
                </c:pt>
                <c:pt idx="1">
                  <c:v>0.11062733467568969</c:v>
                </c:pt>
                <c:pt idx="2">
                  <c:v>8.2556289229235899E-2</c:v>
                </c:pt>
                <c:pt idx="3">
                  <c:v>4.9874328396680309E-2</c:v>
                </c:pt>
                <c:pt idx="4">
                  <c:v>4.4399753670752669E-2</c:v>
                </c:pt>
                <c:pt idx="5">
                  <c:v>3.6603639933877996E-2</c:v>
                </c:pt>
                <c:pt idx="6">
                  <c:v>3.4272267058738363E-2</c:v>
                </c:pt>
                <c:pt idx="7">
                  <c:v>3.07883762476103E-2</c:v>
                </c:pt>
                <c:pt idx="8">
                  <c:v>3.0158837278807818E-2</c:v>
                </c:pt>
                <c:pt idx="9">
                  <c:v>2.8481801988599703E-2</c:v>
                </c:pt>
                <c:pt idx="10">
                  <c:v>2.574743463261476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4154624"/>
        <c:axId val="254156160"/>
      </c:barChart>
      <c:catAx>
        <c:axId val="254154624"/>
        <c:scaling>
          <c:orientation val="maxMin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s-CL"/>
          </a:p>
        </c:txPr>
        <c:crossAx val="254156160"/>
        <c:crosses val="autoZero"/>
        <c:auto val="1"/>
        <c:lblAlgn val="ctr"/>
        <c:lblOffset val="100"/>
        <c:noMultiLvlLbl val="0"/>
      </c:catAx>
      <c:valAx>
        <c:axId val="254156160"/>
        <c:scaling>
          <c:orientation val="minMax"/>
        </c:scaling>
        <c:delete val="1"/>
        <c:axPos val="t"/>
        <c:numFmt formatCode="###0%" sourceLinked="1"/>
        <c:majorTickMark val="out"/>
        <c:minorTickMark val="none"/>
        <c:tickLblPos val="nextTo"/>
        <c:crossAx val="2541546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 algn="just">
        <a:defRPr sz="1800"/>
      </a:pPr>
      <a:endParaRPr lang="es-CL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723234773985542E-2"/>
          <c:y val="0.1612181149920999"/>
          <c:w val="0.96655353045202896"/>
          <c:h val="0.630230244292695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</c:spPr>
          </c:dPt>
          <c:dLbls>
            <c:txPr>
              <a:bodyPr/>
              <a:lstStyle/>
              <a:p>
                <a:pPr>
                  <a:defRPr sz="110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0</c:f>
              <c:strCache>
                <c:ptCount val="9"/>
                <c:pt idx="0">
                  <c:v>Me falta dinero</c:v>
                </c:pt>
                <c:pt idx="1">
                  <c:v>Me falta tiempo</c:v>
                </c:pt>
                <c:pt idx="2">
                  <c:v>Me falta decisión / fuerza de voluntad</c:v>
                </c:pt>
                <c:pt idx="3">
                  <c:v>Me falta experiencia</c:v>
                </c:pt>
                <c:pt idx="4">
                  <c:v>No tengo los conocimientos necesarios</c:v>
                </c:pt>
                <c:pt idx="5">
                  <c:v>El hecho de que no tenga pareja</c:v>
                </c:pt>
                <c:pt idx="6">
                  <c:v>Faltan oportunidades</c:v>
                </c:pt>
                <c:pt idx="7">
                  <c:v>Me falta apoyo emocional</c:v>
                </c:pt>
                <c:pt idx="8">
                  <c:v>Problemas familiares/ Salud de mi familia</c:v>
                </c:pt>
              </c:strCache>
            </c:strRef>
          </c:cat>
          <c:val>
            <c:numRef>
              <c:f>Hoja1!$B$2:$B$10</c:f>
              <c:numCache>
                <c:formatCode>###0%</c:formatCode>
                <c:ptCount val="9"/>
                <c:pt idx="0">
                  <c:v>0.6414527944343521</c:v>
                </c:pt>
                <c:pt idx="1">
                  <c:v>8.6157770254104496E-2</c:v>
                </c:pt>
                <c:pt idx="2">
                  <c:v>8.2193792865330281E-2</c:v>
                </c:pt>
                <c:pt idx="3">
                  <c:v>2.5560582930831362E-2</c:v>
                </c:pt>
                <c:pt idx="4">
                  <c:v>2.2832175900561868E-2</c:v>
                </c:pt>
                <c:pt idx="5">
                  <c:v>1.665488537549405E-2</c:v>
                </c:pt>
                <c:pt idx="6">
                  <c:v>1.4231618125911751E-2</c:v>
                </c:pt>
                <c:pt idx="7">
                  <c:v>1.3263036359347327E-2</c:v>
                </c:pt>
                <c:pt idx="8">
                  <c:v>1.315721535409033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03552"/>
        <c:axId val="256105088"/>
      </c:barChart>
      <c:catAx>
        <c:axId val="25610355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s-CL"/>
          </a:p>
        </c:txPr>
        <c:crossAx val="256105088"/>
        <c:crosses val="autoZero"/>
        <c:auto val="1"/>
        <c:lblAlgn val="ctr"/>
        <c:lblOffset val="100"/>
        <c:noMultiLvlLbl val="0"/>
      </c:catAx>
      <c:valAx>
        <c:axId val="256105088"/>
        <c:scaling>
          <c:orientation val="minMax"/>
        </c:scaling>
        <c:delete val="1"/>
        <c:axPos val="l"/>
        <c:numFmt formatCode="###0%" sourceLinked="1"/>
        <c:majorTickMark val="out"/>
        <c:minorTickMark val="none"/>
        <c:tickLblPos val="nextTo"/>
        <c:crossAx val="256103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868024549425401E-3"/>
          <c:y val="0.26437247517170798"/>
          <c:w val="0.99482169233876505"/>
          <c:h val="0.503520066808439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c2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14</c:f>
              <c:strCache>
                <c:ptCount val="13"/>
                <c:pt idx="0">
                  <c:v>Hombre</c:v>
                </c:pt>
                <c:pt idx="1">
                  <c:v>Mujer</c:v>
                </c:pt>
                <c:pt idx="3">
                  <c:v>18-36</c:v>
                </c:pt>
                <c:pt idx="4">
                  <c:v>37-51</c:v>
                </c:pt>
                <c:pt idx="5">
                  <c:v>52+</c:v>
                </c:pt>
                <c:pt idx="7">
                  <c:v>C1</c:v>
                </c:pt>
                <c:pt idx="8">
                  <c:v>C2</c:v>
                </c:pt>
                <c:pt idx="9">
                  <c:v>C3</c:v>
                </c:pt>
                <c:pt idx="11">
                  <c:v>RM</c:v>
                </c:pt>
                <c:pt idx="12">
                  <c:v>Regiones</c:v>
                </c:pt>
              </c:strCache>
            </c:strRef>
          </c:cat>
          <c:val>
            <c:numRef>
              <c:f>Hoja1!$B$2:$B$14</c:f>
              <c:numCache>
                <c:formatCode>###0%</c:formatCode>
                <c:ptCount val="13"/>
                <c:pt idx="0">
                  <c:v>0.60952879799834458</c:v>
                </c:pt>
                <c:pt idx="1">
                  <c:v>0.6733767908703624</c:v>
                </c:pt>
                <c:pt idx="3">
                  <c:v>0.60770005883211309</c:v>
                </c:pt>
                <c:pt idx="4">
                  <c:v>0.73288690476190466</c:v>
                </c:pt>
                <c:pt idx="5">
                  <c:v>0.59748015763528661</c:v>
                </c:pt>
                <c:pt idx="7">
                  <c:v>0.45309967185592226</c:v>
                </c:pt>
                <c:pt idx="8">
                  <c:v>0.64148557243028193</c:v>
                </c:pt>
                <c:pt idx="9">
                  <c:v>0.70813729139218229</c:v>
                </c:pt>
                <c:pt idx="11">
                  <c:v>0.64826549188302995</c:v>
                </c:pt>
                <c:pt idx="12">
                  <c:v>0.6121532310009325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EAC-4E65-93EE-BD4F9552EA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46048"/>
        <c:axId val="256156032"/>
      </c:barChart>
      <c:catAx>
        <c:axId val="2561460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es-CL"/>
          </a:p>
        </c:txPr>
        <c:crossAx val="256156032"/>
        <c:crosses val="autoZero"/>
        <c:auto val="1"/>
        <c:lblAlgn val="ctr"/>
        <c:lblOffset val="100"/>
        <c:noMultiLvlLbl val="0"/>
      </c:catAx>
      <c:valAx>
        <c:axId val="256156032"/>
        <c:scaling>
          <c:orientation val="minMax"/>
        </c:scaling>
        <c:delete val="1"/>
        <c:axPos val="l"/>
        <c:numFmt formatCode="###0%" sourceLinked="1"/>
        <c:majorTickMark val="out"/>
        <c:minorTickMark val="none"/>
        <c:tickLblPos val="nextTo"/>
        <c:crossAx val="256146048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spPr>
    <a:ln cap="rnd">
      <a:solidFill>
        <a:schemeClr val="tx1"/>
      </a:solidFill>
      <a:prstDash val="dash"/>
    </a:ln>
  </c:spPr>
  <c:txPr>
    <a:bodyPr/>
    <a:lstStyle/>
    <a:p>
      <a:pPr>
        <a:defRPr sz="1000"/>
      </a:pPr>
      <a:endParaRPr lang="es-CL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txPr>
              <a:bodyPr/>
              <a:lstStyle/>
              <a:p>
                <a:pPr>
                  <a:defRPr sz="110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Dentro de este año</c:v>
                </c:pt>
                <c:pt idx="1">
                  <c:v>Entre 2 y 5 años</c:v>
                </c:pt>
                <c:pt idx="2">
                  <c:v>Entre 6 y 10 años</c:v>
                </c:pt>
                <c:pt idx="3">
                  <c:v>Más de 10 años</c:v>
                </c:pt>
                <c:pt idx="4">
                  <c:v>Está demasiado lejano…</c:v>
                </c:pt>
              </c:strCache>
            </c:strRef>
          </c:cat>
          <c:val>
            <c:numRef>
              <c:f>Hoja1!$B$2:$B$6</c:f>
              <c:numCache>
                <c:formatCode>###0%</c:formatCode>
                <c:ptCount val="5"/>
                <c:pt idx="0">
                  <c:v>0.12918201292916698</c:v>
                </c:pt>
                <c:pt idx="1">
                  <c:v>0.55902974513487802</c:v>
                </c:pt>
                <c:pt idx="2">
                  <c:v>0.15609301787189536</c:v>
                </c:pt>
                <c:pt idx="3">
                  <c:v>3.0436835225222302E-2</c:v>
                </c:pt>
                <c:pt idx="4">
                  <c:v>0.125258388838836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7871232"/>
        <c:axId val="257873024"/>
      </c:barChart>
      <c:catAx>
        <c:axId val="257871232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CL"/>
          </a:p>
        </c:txPr>
        <c:crossAx val="257873024"/>
        <c:crosses val="autoZero"/>
        <c:auto val="1"/>
        <c:lblAlgn val="ctr"/>
        <c:lblOffset val="100"/>
        <c:noMultiLvlLbl val="0"/>
      </c:catAx>
      <c:valAx>
        <c:axId val="257873024"/>
        <c:scaling>
          <c:orientation val="minMax"/>
        </c:scaling>
        <c:delete val="1"/>
        <c:axPos val="b"/>
        <c:numFmt formatCode="###0%" sourceLinked="1"/>
        <c:majorTickMark val="out"/>
        <c:minorTickMark val="none"/>
        <c:tickLblPos val="nextTo"/>
        <c:crossAx val="2578712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01053149606299"/>
          <c:y val="4.8237351248024925E-2"/>
          <c:w val="0.48572801837270341"/>
          <c:h val="0.903525297503950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10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0</c:f>
              <c:strCache>
                <c:ptCount val="9"/>
                <c:pt idx="0">
                  <c:v>Me sentiré feliz</c:v>
                </c:pt>
                <c:pt idx="1">
                  <c:v>Me sentiré realizado</c:v>
                </c:pt>
                <c:pt idx="2">
                  <c:v>Me sentiré orgulloso de mí mismo</c:v>
                </c:pt>
                <c:pt idx="3">
                  <c:v>Me dará tranquilidad económica</c:v>
                </c:pt>
                <c:pt idx="4">
                  <c:v>Me hará sentir que estoy haciendo un aporte importante a mi familia</c:v>
                </c:pt>
                <c:pt idx="5">
                  <c:v>Me dará tranquilidad emocional</c:v>
                </c:pt>
                <c:pt idx="6">
                  <c:v>Me hará sentir que estoy haciendo un aporte importante a mi país</c:v>
                </c:pt>
                <c:pt idx="7">
                  <c:v>Me hará sentir mejor persona</c:v>
                </c:pt>
                <c:pt idx="8">
                  <c:v>Hará que los demás se sientan orgullosos de mí</c:v>
                </c:pt>
              </c:strCache>
            </c:strRef>
          </c:cat>
          <c:val>
            <c:numRef>
              <c:f>Hoja1!$B$2:$B$10</c:f>
              <c:numCache>
                <c:formatCode>###0%</c:formatCode>
                <c:ptCount val="9"/>
                <c:pt idx="0">
                  <c:v>0.46654704071341641</c:v>
                </c:pt>
                <c:pt idx="1">
                  <c:v>0.39548129764791801</c:v>
                </c:pt>
                <c:pt idx="2">
                  <c:v>0.28061971839732053</c:v>
                </c:pt>
                <c:pt idx="3">
                  <c:v>0.26802975487287217</c:v>
                </c:pt>
                <c:pt idx="4">
                  <c:v>0.22658313983108916</c:v>
                </c:pt>
                <c:pt idx="5">
                  <c:v>0.19832113047457567</c:v>
                </c:pt>
                <c:pt idx="6">
                  <c:v>7.5949919891863407E-2</c:v>
                </c:pt>
                <c:pt idx="7">
                  <c:v>6.5219952085355096E-2</c:v>
                </c:pt>
                <c:pt idx="8">
                  <c:v>2.43733379236846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0132224"/>
        <c:axId val="260142208"/>
      </c:barChart>
      <c:catAx>
        <c:axId val="260132224"/>
        <c:scaling>
          <c:orientation val="maxMin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CL"/>
          </a:p>
        </c:txPr>
        <c:crossAx val="260142208"/>
        <c:crosses val="autoZero"/>
        <c:auto val="1"/>
        <c:lblAlgn val="ctr"/>
        <c:lblOffset val="100"/>
        <c:noMultiLvlLbl val="0"/>
      </c:catAx>
      <c:valAx>
        <c:axId val="260142208"/>
        <c:scaling>
          <c:orientation val="minMax"/>
        </c:scaling>
        <c:delete val="1"/>
        <c:axPos val="t"/>
        <c:numFmt formatCode="###0%" sourceLinked="1"/>
        <c:majorTickMark val="out"/>
        <c:minorTickMark val="none"/>
        <c:tickLblPos val="nextTo"/>
        <c:crossAx val="2601322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8A39E5-B5E7-4819-B8E9-F9E16AA39C07}" type="datetimeFigureOut">
              <a:rPr lang="es-CL" smtClean="0"/>
              <a:pPr/>
              <a:t>16-05-2017</a:t>
            </a:fld>
            <a:endParaRPr lang="es-CL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DDC34-3AD9-4BB0-A6C4-9A4F622FFA47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627698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09613" y="725488"/>
            <a:ext cx="5438775" cy="30607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>
                <a:solidFill>
                  <a:schemeClr val="bg2"/>
                </a:solidFill>
                <a:latin typeface="Arial" pitchFamily="34" charset="0"/>
              </a:rPr>
              <a:pPr/>
              <a:t>2</a:t>
            </a:fld>
            <a:endParaRPr lang="en-US" sz="80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91179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9984EC0-8496-45B4-B485-BE96D7100BB8}" type="slidenum">
              <a:rPr lang="en-US">
                <a:latin typeface="Arial" pitchFamily="34" charset="0"/>
              </a:rPr>
              <a:pPr/>
              <a:t>4</a:t>
            </a:fld>
            <a:endParaRPr lang="en-US">
              <a:latin typeface="Arial" pitchFamily="34" charset="0"/>
            </a:endParaRPr>
          </a:p>
        </p:txBody>
      </p:sp>
      <p:sp>
        <p:nvSpPr>
          <p:cNvPr id="6389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27075"/>
            <a:ext cx="5435600" cy="3059113"/>
          </a:xfrm>
          <a:ln/>
        </p:spPr>
      </p:sp>
      <p:sp>
        <p:nvSpPr>
          <p:cNvPr id="638979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3733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23850" y="1653648"/>
            <a:ext cx="8496300" cy="118800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CH" sz="360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50" y="2895906"/>
            <a:ext cx="8496300" cy="1080000"/>
          </a:xfrm>
        </p:spPr>
        <p:txBody>
          <a:bodyPr vert="horz" lIns="0" tIns="1800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de-CH" sz="20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9"/>
          <p:cNvSpPr/>
          <p:nvPr/>
        </p:nvSpPr>
        <p:spPr bwMode="gray">
          <a:xfrm>
            <a:off x="0" y="4948237"/>
            <a:ext cx="9144000" cy="195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4678043"/>
            <a:ext cx="8496740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4400293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95263"/>
            <a:ext cx="6336822" cy="486225"/>
          </a:xfrm>
        </p:spPr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3850" y="789385"/>
            <a:ext cx="8496300" cy="2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GB" sz="1800" kern="120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3pPr>
            <a:lvl4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None/>
              <a:defRPr lang="en-GB" sz="1800">
                <a:solidFill>
                  <a:schemeClr val="tx2"/>
                </a:solidFill>
                <a:latin typeface="+mn-lt"/>
                <a:cs typeface="+mn-cs"/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7pPr>
            <a:lvl9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410" y="4840065"/>
            <a:ext cx="8496000" cy="108000"/>
          </a:xfrm>
        </p:spPr>
        <p:txBody>
          <a:bodyPr bIns="36000"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9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 hasCustomPrompt="1"/>
          </p:nvPr>
        </p:nvSpPr>
        <p:spPr>
          <a:xfrm>
            <a:off x="323851" y="1059657"/>
            <a:ext cx="2735263" cy="3726656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3203811" y="1059657"/>
            <a:ext cx="2736615" cy="3726656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9" hasCustomPrompt="1"/>
          </p:nvPr>
        </p:nvSpPr>
        <p:spPr>
          <a:xfrm>
            <a:off x="6084888" y="1059657"/>
            <a:ext cx="2735262" cy="3726656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53049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95263"/>
            <a:ext cx="6336822" cy="486225"/>
          </a:xfrm>
        </p:spPr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0" y="789385"/>
            <a:ext cx="8496300" cy="2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GB" sz="1800" kern="120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3pPr>
            <a:lvl4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None/>
              <a:defRPr lang="en-GB" sz="1800">
                <a:solidFill>
                  <a:schemeClr val="tx2"/>
                </a:solidFill>
                <a:latin typeface="+mn-lt"/>
                <a:cs typeface="+mn-cs"/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7pPr>
            <a:lvl9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3410" y="4840065"/>
            <a:ext cx="8496000" cy="108000"/>
          </a:xfrm>
        </p:spPr>
        <p:txBody>
          <a:bodyPr bIns="36000"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9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 hasCustomPrompt="1"/>
          </p:nvPr>
        </p:nvSpPr>
        <p:spPr>
          <a:xfrm>
            <a:off x="323852" y="1059657"/>
            <a:ext cx="2015111" cy="3726656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 hasCustomPrompt="1"/>
          </p:nvPr>
        </p:nvSpPr>
        <p:spPr>
          <a:xfrm>
            <a:off x="2483710" y="1059657"/>
            <a:ext cx="2016280" cy="3726656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20" hasCustomPrompt="1"/>
          </p:nvPr>
        </p:nvSpPr>
        <p:spPr>
          <a:xfrm>
            <a:off x="4644010" y="1059657"/>
            <a:ext cx="2015110" cy="3726656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12"/>
          <p:cNvSpPr>
            <a:spLocks noGrp="1"/>
          </p:cNvSpPr>
          <p:nvPr>
            <p:ph sz="quarter" idx="21" hasCustomPrompt="1"/>
          </p:nvPr>
        </p:nvSpPr>
        <p:spPr>
          <a:xfrm>
            <a:off x="6804310" y="1059657"/>
            <a:ext cx="2015110" cy="3726656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823390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95263"/>
            <a:ext cx="6336822" cy="486225"/>
          </a:xfrm>
        </p:spPr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0" y="789385"/>
            <a:ext cx="8496300" cy="2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GB" sz="1800" kern="120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3pPr>
            <a:lvl4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None/>
              <a:defRPr lang="en-GB" sz="1800">
                <a:solidFill>
                  <a:schemeClr val="tx2"/>
                </a:solidFill>
                <a:latin typeface="+mn-lt"/>
                <a:cs typeface="+mn-cs"/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7pPr>
            <a:lvl9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3410" y="4840065"/>
            <a:ext cx="8496000" cy="108000"/>
          </a:xfrm>
        </p:spPr>
        <p:txBody>
          <a:bodyPr bIns="36000"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9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 hasCustomPrompt="1"/>
          </p:nvPr>
        </p:nvSpPr>
        <p:spPr>
          <a:xfrm>
            <a:off x="323850" y="1059540"/>
            <a:ext cx="4176140" cy="183600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quarter" idx="19" hasCustomPrompt="1"/>
          </p:nvPr>
        </p:nvSpPr>
        <p:spPr>
          <a:xfrm>
            <a:off x="4644010" y="1059540"/>
            <a:ext cx="4175698" cy="183600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quarter" idx="20" hasCustomPrompt="1"/>
          </p:nvPr>
        </p:nvSpPr>
        <p:spPr>
          <a:xfrm>
            <a:off x="323410" y="3003810"/>
            <a:ext cx="4176580" cy="178224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quarter" idx="21" hasCustomPrompt="1"/>
          </p:nvPr>
        </p:nvSpPr>
        <p:spPr>
          <a:xfrm>
            <a:off x="4644010" y="3003810"/>
            <a:ext cx="4176580" cy="178224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076896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2 Imag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280" y="80417"/>
            <a:ext cx="619125" cy="6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6687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7" name="Gruppieren 6"/>
          <p:cNvGrpSpPr/>
          <p:nvPr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789780"/>
            <a:ext cx="8496740" cy="2052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3600" noProof="0">
                <a:solidFill>
                  <a:schemeClr val="tx2"/>
                </a:solidFill>
                <a:ea typeface="+mn-ea"/>
                <a:cs typeface="Arial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tabLst/>
            </a:pPr>
            <a:r>
              <a:rPr lang="en-US" dirty="0" smtClean="0"/>
              <a:t>Click to add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35179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Black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789780"/>
            <a:ext cx="8496740" cy="205200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GB" sz="3600">
                <a:solidFill>
                  <a:schemeClr val="bg1"/>
                </a:solidFill>
                <a:ea typeface="+mn-ea"/>
                <a:cs typeface="Arial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tabLst/>
            </a:pPr>
            <a:r>
              <a:rPr lang="en-US" dirty="0" smtClean="0"/>
              <a:t>Click to add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34541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789780"/>
            <a:ext cx="8496740" cy="205200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GB" sz="3600">
                <a:solidFill>
                  <a:schemeClr val="bg1"/>
                </a:solidFill>
                <a:ea typeface="+mn-ea"/>
                <a:cs typeface="Arial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tabLst/>
            </a:pPr>
            <a:r>
              <a:rPr lang="en-US" dirty="0" smtClean="0"/>
              <a:t>Click to add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98958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4000" y="1653648"/>
            <a:ext cx="1296144" cy="15125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smtClean="0"/>
              <a:t>Picture</a:t>
            </a:r>
            <a:endParaRPr lang="en-US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644009" y="1653648"/>
            <a:ext cx="1296144" cy="15125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smtClean="0"/>
              <a:t>Picture</a:t>
            </a:r>
            <a:endParaRPr lang="en-US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90" y="2680136"/>
            <a:ext cx="2736303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2356100"/>
            <a:ext cx="2736304" cy="324000"/>
          </a:xfrm>
          <a:prstGeom prst="rect">
            <a:avLst/>
          </a:prstGeo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1653649"/>
            <a:ext cx="2736304" cy="702452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2842154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3004171"/>
            <a:ext cx="2736226" cy="16126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084168" y="2680137"/>
            <a:ext cx="2736304" cy="162017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168" y="2356100"/>
            <a:ext cx="2736304" cy="324000"/>
          </a:xfrm>
          <a:prstGeom prst="rect">
            <a:avLst/>
          </a:prstGeo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168" y="1653649"/>
            <a:ext cx="2736304" cy="702452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168" y="2842154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168" y="3004172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324000" y="195263"/>
            <a:ext cx="6336000" cy="48591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789385"/>
            <a:ext cx="8496300" cy="21619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9558265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323850" y="1653778"/>
            <a:ext cx="1295400" cy="15120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smtClean="0"/>
              <a:t>Picture</a:t>
            </a:r>
            <a:endParaRPr lang="en-US"/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4645025" y="1653778"/>
            <a:ext cx="1295400" cy="15120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smtClean="0"/>
              <a:t>Picture</a:t>
            </a:r>
            <a:endParaRPr lang="en-US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763610" y="2679763"/>
            <a:ext cx="2736953" cy="162017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dirty="0" smtClean="0"/>
              <a:t>[phone number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763688" y="2355726"/>
            <a:ext cx="2736874" cy="324000"/>
          </a:xfrm>
          <a:prstGeom prst="rect">
            <a:avLst/>
          </a:prstGeo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763688" y="2841780"/>
            <a:ext cx="2736875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763767" y="3003798"/>
            <a:ext cx="2736226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168" y="2679763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4168" y="2355726"/>
            <a:ext cx="2736304" cy="324000"/>
          </a:xfrm>
          <a:prstGeom prst="rect">
            <a:avLst/>
          </a:prstGeo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084168" y="2841780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084168" y="3003798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323528" y="3274219"/>
            <a:ext cx="1295400" cy="1511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smtClean="0"/>
              <a:t>Picture</a:t>
            </a:r>
            <a:endParaRPr lang="en-US"/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4644703" y="3274219"/>
            <a:ext cx="1295400" cy="1511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smtClean="0"/>
              <a:t>Picture</a:t>
            </a:r>
            <a:endParaRPr lang="en-US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763688" y="4300300"/>
            <a:ext cx="273687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763688" y="3975907"/>
            <a:ext cx="2736304" cy="324000"/>
          </a:xfrm>
          <a:prstGeom prst="rect">
            <a:avLst/>
          </a:prstGeo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763688" y="4461928"/>
            <a:ext cx="273687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63688" y="4623555"/>
            <a:ext cx="273687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168" y="4300308"/>
            <a:ext cx="273630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084168" y="3975907"/>
            <a:ext cx="2736304" cy="324000"/>
          </a:xfrm>
          <a:prstGeom prst="rect">
            <a:avLst/>
          </a:prstGeo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84168" y="4461935"/>
            <a:ext cx="273630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084168" y="4623562"/>
            <a:ext cx="273630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789385"/>
            <a:ext cx="8496300" cy="21619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1653649"/>
            <a:ext cx="2736304" cy="702452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6088791" y="1653649"/>
            <a:ext cx="2736304" cy="702452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763688" y="3273847"/>
            <a:ext cx="2736304" cy="702452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6084286" y="3273847"/>
            <a:ext cx="2736304" cy="702452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222252187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528" y="789385"/>
            <a:ext cx="8496944" cy="2052638"/>
          </a:xfrm>
          <a:prstGeom prst="rect">
            <a:avLst/>
          </a:prstGeom>
        </p:spPr>
        <p:txBody>
          <a:bodyPr anchor="b"/>
          <a:lstStyle>
            <a:lvl1pPr>
              <a:defRPr sz="38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Thank you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677984"/>
            <a:ext cx="8496944" cy="16201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15501609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6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323528" y="842962"/>
            <a:ext cx="8496944" cy="4105052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544" y="1815666"/>
            <a:ext cx="8208912" cy="1026114"/>
          </a:xfrm>
          <a:prstGeom prst="rect">
            <a:avLst/>
          </a:prstGeom>
          <a:noFill/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7544" y="2895786"/>
            <a:ext cx="8208913" cy="1134126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56" name="Rechteck 55"/>
          <p:cNvSpPr/>
          <p:nvPr/>
        </p:nvSpPr>
        <p:spPr bwMode="gray">
          <a:xfrm>
            <a:off x="0" y="4948237"/>
            <a:ext cx="9144000" cy="195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0" y="4677984"/>
            <a:ext cx="8209140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51465405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195419"/>
            <a:ext cx="6696421" cy="576105"/>
          </a:xfrm>
        </p:spPr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9103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6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323850" y="2463404"/>
            <a:ext cx="8496300" cy="2322909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50" y="789105"/>
            <a:ext cx="8496300" cy="1242000"/>
          </a:xfrm>
          <a:prstGeom prst="rect">
            <a:avLst/>
          </a:prstGeom>
          <a:noFill/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50" y="2086645"/>
            <a:ext cx="8496300" cy="26908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56" name="Rechteck 55"/>
          <p:cNvSpPr/>
          <p:nvPr/>
        </p:nvSpPr>
        <p:spPr bwMode="gray">
          <a:xfrm>
            <a:off x="0" y="4948237"/>
            <a:ext cx="9144000" cy="195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839891"/>
            <a:ext cx="8496300" cy="108123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15418675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528" y="1059656"/>
            <a:ext cx="8496944" cy="3726340"/>
          </a:xfrm>
          <a:prstGeom prst="rect">
            <a:avLst/>
          </a:prstGeom>
        </p:spPr>
        <p:txBody>
          <a:bodyPr/>
          <a:lstStyle>
            <a:lvl1pPr marL="360000" indent="-360000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  <a:latin typeface="Arial" pitchFamily="34" charset="0"/>
              </a:defRPr>
            </a:lvl1pPr>
            <a:lvl2pPr marL="360000" indent="0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+mj-lt"/>
              <a:buNone/>
              <a:tabLst>
                <a:tab pos="8496000" algn="r"/>
              </a:tabLst>
              <a:defRPr sz="1800">
                <a:solidFill>
                  <a:schemeClr val="bg2"/>
                </a:solidFill>
                <a:latin typeface="Arial" pitchFamily="34" charset="0"/>
              </a:defRPr>
            </a:lvl2pPr>
            <a:lvl3pPr marL="360000" indent="0"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8496000" algn="r"/>
              </a:tabLst>
              <a:defRPr sz="1800">
                <a:solidFill>
                  <a:schemeClr val="bg2"/>
                </a:solidFill>
                <a:latin typeface="Arial" pitchFamily="34" charset="0"/>
              </a:defRPr>
            </a:lvl3pPr>
            <a:lvl4pPr marL="360000" indent="0">
              <a:spcBef>
                <a:spcPts val="0"/>
              </a:spcBef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0"/>
              </a:spcBef>
              <a:spcAft>
                <a:spcPts val="1200"/>
              </a:spcAft>
              <a:buFontTx/>
              <a:buNone/>
              <a:defRPr sz="1800" b="0">
                <a:solidFill>
                  <a:schemeClr val="bg2"/>
                </a:solidFill>
              </a:defRPr>
            </a:lvl5pPr>
            <a:lvl6pPr marL="360000" indent="0">
              <a:spcBef>
                <a:spcPts val="0"/>
              </a:spcBef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0"/>
              </a:spcBef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0"/>
              </a:spcBef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0"/>
              </a:spcBef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7522024" y="4948014"/>
            <a:ext cx="1298448" cy="1097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800" smtClean="0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algn="r"/>
            <a:fld id="{1BDBE1E8-50F2-49BA-A952-1CC1DEAA5FBD}" type="slidenum">
              <a:rPr lang="en-US" smtClean="0"/>
              <a:pPr algn="r"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95263"/>
            <a:ext cx="6336822" cy="4862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add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650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1653779"/>
            <a:ext cx="8496299" cy="1512094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2800" dirty="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grpSp>
        <p:nvGrpSpPr>
          <p:cNvPr id="5" name="Gruppieren 4"/>
          <p:cNvGrpSpPr/>
          <p:nvPr/>
        </p:nvGrpSpPr>
        <p:grpSpPr bwMode="gray">
          <a:xfrm>
            <a:off x="-324680" y="681487"/>
            <a:ext cx="216030" cy="4266593"/>
            <a:chOff x="-540710" y="908650"/>
            <a:chExt cx="432060" cy="5688790"/>
          </a:xfrm>
        </p:grpSpPr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/>
        </p:nvGrpSpPr>
        <p:grpSpPr bwMode="gray">
          <a:xfrm>
            <a:off x="9252650" y="681487"/>
            <a:ext cx="216030" cy="4266593"/>
            <a:chOff x="-540710" y="908650"/>
            <a:chExt cx="432060" cy="5688790"/>
          </a:xfrm>
        </p:grpSpPr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/>
        </p:nvSpPr>
        <p:spPr bwMode="gray">
          <a:xfrm>
            <a:off x="0" y="0"/>
            <a:ext cx="9144000" cy="159964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854770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1653779"/>
            <a:ext cx="8496300" cy="1512000"/>
          </a:xfrm>
          <a:prstGeom prst="rect">
            <a:avLst/>
          </a:prstGeom>
        </p:spPr>
        <p:txBody>
          <a:bodyPr lIns="324000" rIns="324000" bIns="0" anchor="ctr"/>
          <a:lstStyle>
            <a:lvl1pPr>
              <a:defRPr sz="28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grpSp>
        <p:nvGrpSpPr>
          <p:cNvPr id="5" name="Gruppieren 4"/>
          <p:cNvGrpSpPr/>
          <p:nvPr/>
        </p:nvGrpSpPr>
        <p:grpSpPr bwMode="gray">
          <a:xfrm>
            <a:off x="-324680" y="681487"/>
            <a:ext cx="216030" cy="4266593"/>
            <a:chOff x="-540710" y="908650"/>
            <a:chExt cx="432060" cy="5688790"/>
          </a:xfrm>
        </p:grpSpPr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/>
        </p:nvGrpSpPr>
        <p:grpSpPr bwMode="gray">
          <a:xfrm>
            <a:off x="9252650" y="681487"/>
            <a:ext cx="216030" cy="4266593"/>
            <a:chOff x="-540710" y="908650"/>
            <a:chExt cx="432060" cy="5688790"/>
          </a:xfrm>
        </p:grpSpPr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uppieren 1"/>
          <p:cNvGrpSpPr/>
          <p:nvPr/>
        </p:nvGrpSpPr>
        <p:grpSpPr bwMode="gray">
          <a:xfrm>
            <a:off x="323850" y="1653648"/>
            <a:ext cx="8496300" cy="1512168"/>
            <a:chOff x="0" y="2204864"/>
            <a:chExt cx="9144000" cy="2016224"/>
          </a:xfrm>
        </p:grpSpPr>
        <p:sp>
          <p:nvSpPr>
            <p:cNvPr id="64" name="Rechteck 63"/>
            <p:cNvSpPr/>
            <p:nvPr userDrawn="1"/>
          </p:nvSpPr>
          <p:spPr bwMode="gray">
            <a:xfrm>
              <a:off x="0" y="2204864"/>
              <a:ext cx="9144000" cy="72008"/>
            </a:xfrm>
            <a:prstGeom prst="rect">
              <a:avLst/>
            </a:prstGeom>
            <a:gradFill>
              <a:gsLst>
                <a:gs pos="2000">
                  <a:schemeClr val="accent6"/>
                </a:gs>
                <a:gs pos="100000">
                  <a:srgbClr val="F9B200"/>
                </a:gs>
              </a:gsLst>
              <a:lin ang="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err="1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67" name="Rechteck 66"/>
            <p:cNvSpPr/>
            <p:nvPr userDrawn="1"/>
          </p:nvSpPr>
          <p:spPr bwMode="gray">
            <a:xfrm>
              <a:off x="0" y="4149080"/>
              <a:ext cx="9144000" cy="72008"/>
            </a:xfrm>
            <a:prstGeom prst="rect">
              <a:avLst/>
            </a:prstGeom>
            <a:gradFill>
              <a:gsLst>
                <a:gs pos="2000">
                  <a:schemeClr val="accent6"/>
                </a:gs>
                <a:gs pos="100000">
                  <a:srgbClr val="F9B200"/>
                </a:gs>
              </a:gsLst>
              <a:lin ang="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err="1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</p:grpSp>
      <p:sp>
        <p:nvSpPr>
          <p:cNvPr id="55" name="Rechteck 54"/>
          <p:cNvSpPr/>
          <p:nvPr/>
        </p:nvSpPr>
        <p:spPr bwMode="gray">
          <a:xfrm>
            <a:off x="0" y="0"/>
            <a:ext cx="9144000" cy="154543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261945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789385"/>
            <a:ext cx="8496300" cy="2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GB" sz="1800" kern="120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3pPr>
            <a:lvl4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None/>
              <a:defRPr lang="en-GB" sz="1800">
                <a:solidFill>
                  <a:schemeClr val="tx2"/>
                </a:solidFill>
                <a:latin typeface="+mn-lt"/>
                <a:cs typeface="+mn-cs"/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7pPr>
            <a:lvl9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410" y="4840065"/>
            <a:ext cx="8496000" cy="108000"/>
          </a:xfrm>
        </p:spPr>
        <p:txBody>
          <a:bodyPr bIns="36000"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9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68844203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95263"/>
            <a:ext cx="6336822" cy="486225"/>
          </a:xfrm>
        </p:spPr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6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789385"/>
            <a:ext cx="8496300" cy="2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GB" sz="1800" kern="120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3pPr>
            <a:lvl4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None/>
              <a:defRPr lang="en-GB" sz="1800">
                <a:solidFill>
                  <a:schemeClr val="tx2"/>
                </a:solidFill>
                <a:latin typeface="+mn-lt"/>
                <a:cs typeface="+mn-cs"/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7pPr>
            <a:lvl9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410" y="4840065"/>
            <a:ext cx="8496000" cy="108000"/>
          </a:xfrm>
        </p:spPr>
        <p:txBody>
          <a:bodyPr bIns="36000"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9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323850" y="1059657"/>
            <a:ext cx="8496300" cy="3726656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314242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95263"/>
            <a:ext cx="6336822" cy="486225"/>
          </a:xfrm>
        </p:spPr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789385"/>
            <a:ext cx="8496300" cy="2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GB" sz="1800" kern="120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3pPr>
            <a:lvl4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None/>
              <a:defRPr lang="en-GB" sz="1800">
                <a:solidFill>
                  <a:schemeClr val="tx2"/>
                </a:solidFill>
                <a:latin typeface="+mn-lt"/>
                <a:cs typeface="+mn-cs"/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7pPr>
            <a:lvl9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3410" y="4840065"/>
            <a:ext cx="8496000" cy="108000"/>
          </a:xfrm>
        </p:spPr>
        <p:txBody>
          <a:bodyPr bIns="36000"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9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323851" y="1059657"/>
            <a:ext cx="4176713" cy="3726656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 hasCustomPrompt="1"/>
          </p:nvPr>
        </p:nvSpPr>
        <p:spPr>
          <a:xfrm>
            <a:off x="4643438" y="1059657"/>
            <a:ext cx="4176712" cy="3726656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42739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CT_Marker_ID_7" hidden="1"/>
          <p:cNvSpPr/>
          <p:nvPr>
            <p:custDataLst>
              <p:tags r:id="rId22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73" name="Gruppieren 11"/>
          <p:cNvGrpSpPr/>
          <p:nvPr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74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5" name="Gerade Verbindung 2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6" name="Gerade Verbindung 2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7" name="Gerade Verbindung 26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8" name="Gerade Verbindung 27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9" name="Gerade Verbindung 28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80" name="Gerade Verbindung 29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81" name="Gerade Verbindung 30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82" name="Gerade Verbindung 31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83" name="Gerade Verbindung 32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84" name="Gerade Verbindung 33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8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grpSp>
        <p:nvGrpSpPr>
          <p:cNvPr id="86" name="Gruppieren 37"/>
          <p:cNvGrpSpPr/>
          <p:nvPr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87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88" name="Gerade Verbindung 3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89" name="Gerade Verbindung 4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0" name="Gerade Verbindung 4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1" name="Gerade Verbindung 4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2" name="Gerade Verbindung 4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3" name="Gerade Verbindung 4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4" name="Gerade Verbindung 4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5" name="Gerade Verbindung 4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6" name="Gerade Verbindung 4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7" name="Gerade Verbindung 4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8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grpSp>
        <p:nvGrpSpPr>
          <p:cNvPr id="99" name="Gruppieren 57"/>
          <p:cNvGrpSpPr/>
          <p:nvPr/>
        </p:nvGrpSpPr>
        <p:grpSpPr bwMode="gray">
          <a:xfrm>
            <a:off x="9252520" y="194400"/>
            <a:ext cx="216160" cy="4753614"/>
            <a:chOff x="-540970" y="259288"/>
            <a:chExt cx="432320" cy="6338152"/>
          </a:xfrm>
        </p:grpSpPr>
        <p:cxnSp>
          <p:nvCxnSpPr>
            <p:cNvPr id="101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3" name="Gerade Verbindung 62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4" name="Gerade Verbindung 79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5" name="Gerade Verbindung 80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6" name="Gerade Verbindung 81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7" name="Gerade Verbindung 82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8" name="Gerade Verbindung 83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9" name="Gerade Verbindung 84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0" name="Gerade Verbindung 85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1" name="Gerade Verbindung 86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2" name="Gerade Verbindung 88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65" name="Gerade Verbindung 58"/>
            <p:cNvCxnSpPr/>
            <p:nvPr userDrawn="1"/>
          </p:nvCxnSpPr>
          <p:spPr bwMode="gray">
            <a:xfrm>
              <a:off x="-540970" y="1052824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67" name="Gerade Verbindung 58"/>
            <p:cNvCxnSpPr/>
            <p:nvPr userDrawn="1"/>
          </p:nvCxnSpPr>
          <p:spPr bwMode="gray">
            <a:xfrm>
              <a:off x="-540970" y="1412864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69" name="Gerade Verbindung 59"/>
            <p:cNvCxnSpPr/>
            <p:nvPr userDrawn="1"/>
          </p:nvCxnSpPr>
          <p:spPr bwMode="gray">
            <a:xfrm>
              <a:off x="-540710" y="259288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2" name="Gerade Verbindung 58"/>
            <p:cNvCxnSpPr/>
            <p:nvPr userDrawn="1"/>
          </p:nvCxnSpPr>
          <p:spPr bwMode="gray">
            <a:xfrm>
              <a:off x="-540970" y="1628838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grpSp>
        <p:nvGrpSpPr>
          <p:cNvPr id="113" name="Gruppieren 55"/>
          <p:cNvGrpSpPr/>
          <p:nvPr/>
        </p:nvGrpSpPr>
        <p:grpSpPr bwMode="gray">
          <a:xfrm>
            <a:off x="-324550" y="195486"/>
            <a:ext cx="216036" cy="4752594"/>
            <a:chOff x="-540710" y="260648"/>
            <a:chExt cx="432072" cy="6336792"/>
          </a:xfrm>
        </p:grpSpPr>
        <p:cxnSp>
          <p:nvCxnSpPr>
            <p:cNvPr id="115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6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7" name="Gerade Verbindung 6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8" name="Gerade Verbindung 6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9" name="Gerade Verbindung 6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0" name="Gerade Verbindung 6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1" name="Gerade Verbindung 6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2" name="Gerade Verbindung 6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3" name="Gerade Verbindung 7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4" name="Gerade Verbindung 7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5" name="Gerade Verbindung 7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6" name="Gerade Verbindung 7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64" name="Gerade Verbindung 56"/>
            <p:cNvCxnSpPr/>
            <p:nvPr userDrawn="1"/>
          </p:nvCxnSpPr>
          <p:spPr bwMode="gray">
            <a:xfrm>
              <a:off x="-540698" y="1052736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66" name="Gerade Verbindung 56"/>
            <p:cNvCxnSpPr/>
            <p:nvPr userDrawn="1"/>
          </p:nvCxnSpPr>
          <p:spPr bwMode="gray">
            <a:xfrm>
              <a:off x="-540698" y="1412776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68" name="Gerade Verbindung 60"/>
            <p:cNvCxnSpPr/>
            <p:nvPr userDrawn="1"/>
          </p:nvCxnSpPr>
          <p:spPr bwMode="gray">
            <a:xfrm>
              <a:off x="-540710" y="260648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0" name="Gerade Verbindung 56"/>
            <p:cNvCxnSpPr/>
            <p:nvPr userDrawn="1"/>
          </p:nvCxnSpPr>
          <p:spPr bwMode="gray">
            <a:xfrm>
              <a:off x="-540698" y="162875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127" name="Rechteck 13"/>
          <p:cNvSpPr/>
          <p:nvPr/>
        </p:nvSpPr>
        <p:spPr bwMode="gray">
          <a:xfrm>
            <a:off x="324390" y="4948080"/>
            <a:ext cx="7056000" cy="108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© GfK </a:t>
            </a:r>
            <a:fld id="{0551FFB8-894C-4744-A940-E2B28BDA7804}" type="datetime4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May 16, 2017</a:t>
            </a:fld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 | ESTUDIO </a:t>
            </a:r>
            <a:r>
              <a:rPr kumimoji="0" lang="en-US" sz="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McKAY</a:t>
            </a: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 2017</a:t>
            </a:r>
          </a:p>
        </p:txBody>
      </p:sp>
      <p:sp>
        <p:nvSpPr>
          <p:cNvPr id="128" name="Rechteck 74"/>
          <p:cNvSpPr/>
          <p:nvPr/>
        </p:nvSpPr>
        <p:spPr bwMode="gray">
          <a:xfrm>
            <a:off x="7523970" y="4948080"/>
            <a:ext cx="1296620" cy="108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ABCC37-C314-4D17-9583-6D754EDEC568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928580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130" name="Title Placeholder 129"/>
          <p:cNvSpPr>
            <a:spLocks noGrp="1"/>
          </p:cNvSpPr>
          <p:nvPr>
            <p:ph type="title"/>
          </p:nvPr>
        </p:nvSpPr>
        <p:spPr bwMode="gray">
          <a:xfrm>
            <a:off x="323410" y="195263"/>
            <a:ext cx="6336822" cy="48622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gray">
          <a:xfrm>
            <a:off x="324390" y="789552"/>
            <a:ext cx="8495760" cy="39967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8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3" name="VctContentArea_ID_3" hidden="1"/>
          <p:cNvSpPr/>
          <p:nvPr>
            <p:custDataLst>
              <p:tags r:id="rId24"/>
            </p:custDataLst>
          </p:nvPr>
        </p:nvSpPr>
        <p:spPr bwMode="gray">
          <a:xfrm>
            <a:off x="321850" y="787647"/>
            <a:ext cx="8500840" cy="4000571"/>
          </a:xfrm>
          <a:prstGeom prst="rect">
            <a:avLst/>
          </a:prstGeom>
          <a:noFill/>
          <a:ln w="19050" cap="flat" cmpd="sng" algn="ctr">
            <a:solidFill>
              <a:srgbClr val="C80000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C86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5" name="4 Imagen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280" y="80417"/>
            <a:ext cx="619125" cy="6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34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47" r:id="rId2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US" sz="1800" kern="1200" dirty="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lang="en-US" sz="16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lang="en-US" sz="1600" b="0" kern="1200" baseline="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539750" indent="-180975" algn="l" defTabSz="914400" rtl="0" eaLnBrk="1" latinLnBrk="0" hangingPunct="1">
        <a:spcBef>
          <a:spcPts val="3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1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9.xml"/><Relationship Id="rId4" Type="http://schemas.openxmlformats.org/officeDocument/2006/relationships/chart" Target="../charts/char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.gi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.xml"/><Relationship Id="rId7" Type="http://schemas.openxmlformats.org/officeDocument/2006/relationships/oleObject" Target="../embeddings/oleObject1.bin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2.xml"/><Relationship Id="rId10" Type="http://schemas.openxmlformats.org/officeDocument/2006/relationships/chart" Target="../charts/chart3.xml"/><Relationship Id="rId4" Type="http://schemas.openxmlformats.org/officeDocument/2006/relationships/slideLayout" Target="../slideLayouts/slideLayout20.xml"/><Relationship Id="rId9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Rectángulo"/>
          <p:cNvSpPr/>
          <p:nvPr/>
        </p:nvSpPr>
        <p:spPr bwMode="gray">
          <a:xfrm>
            <a:off x="179512" y="1923678"/>
            <a:ext cx="8640960" cy="1224136"/>
          </a:xfrm>
          <a:prstGeom prst="rect">
            <a:avLst/>
          </a:prstGeom>
          <a:solidFill>
            <a:schemeClr val="bg1">
              <a:alpha val="4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CL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 bwMode="gray">
          <a:xfrm>
            <a:off x="323528" y="1851670"/>
            <a:ext cx="8496301" cy="75614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800" b="0" kern="1200" cap="all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CL" sz="3600" b="1" dirty="0" smtClean="0"/>
              <a:t>“los sueños de los chilenos”</a:t>
            </a:r>
            <a:endParaRPr lang="es-CL" sz="3600" dirty="0"/>
          </a:p>
        </p:txBody>
      </p:sp>
      <p:sp>
        <p:nvSpPr>
          <p:cNvPr id="2" name="1 CuadroTexto"/>
          <p:cNvSpPr txBox="1"/>
          <p:nvPr/>
        </p:nvSpPr>
        <p:spPr bwMode="gray">
          <a:xfrm>
            <a:off x="323528" y="2571750"/>
            <a:ext cx="6409060" cy="57606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es-CL" sz="2800" b="1" dirty="0" smtClean="0">
                <a:solidFill>
                  <a:schemeClr val="tx2"/>
                </a:solidFill>
                <a:latin typeface="Arial"/>
              </a:rPr>
              <a:t>Estudio para </a:t>
            </a:r>
            <a:r>
              <a:rPr lang="es-CL" sz="2800" b="1" dirty="0" err="1" smtClean="0">
                <a:solidFill>
                  <a:schemeClr val="tx2"/>
                </a:solidFill>
                <a:latin typeface="Arial"/>
              </a:rPr>
              <a:t>McKay</a:t>
            </a:r>
            <a:endParaRPr lang="es-CL" sz="2800" b="1" dirty="0" smtClean="0">
              <a:solidFill>
                <a:schemeClr val="tx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7164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832172725"/>
              </p:ext>
            </p:extLst>
          </p:nvPr>
        </p:nvGraphicFramePr>
        <p:xfrm>
          <a:off x="323528" y="1069976"/>
          <a:ext cx="8353647" cy="3544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3 Rectángulo"/>
          <p:cNvSpPr/>
          <p:nvPr/>
        </p:nvSpPr>
        <p:spPr bwMode="gray">
          <a:xfrm>
            <a:off x="6444928" y="1821922"/>
            <a:ext cx="2159520" cy="50405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355922" y="627534"/>
            <a:ext cx="6448326" cy="432048"/>
          </a:xfrm>
        </p:spPr>
        <p:txBody>
          <a:bodyPr/>
          <a:lstStyle/>
          <a:p>
            <a:r>
              <a:rPr lang="es-CL" dirty="0" smtClean="0"/>
              <a:t>¿Cuál </a:t>
            </a:r>
            <a:r>
              <a:rPr lang="es-CL" dirty="0"/>
              <a:t>es la principal barrera o problema que tienes hoy para poder cumplir ese sueño?</a:t>
            </a:r>
          </a:p>
        </p:txBody>
      </p:sp>
      <p:sp>
        <p:nvSpPr>
          <p:cNvPr id="7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45" name="44 Elipse"/>
          <p:cNvSpPr/>
          <p:nvPr/>
        </p:nvSpPr>
        <p:spPr bwMode="gray">
          <a:xfrm>
            <a:off x="5852419" y="1648158"/>
            <a:ext cx="851584" cy="851584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b="1" dirty="0" smtClean="0">
                <a:solidFill>
                  <a:schemeClr val="bg1"/>
                </a:solidFill>
              </a:rPr>
              <a:t>6%</a:t>
            </a:r>
          </a:p>
        </p:txBody>
      </p:sp>
      <p:sp>
        <p:nvSpPr>
          <p:cNvPr id="5" name="4 CuadroTexto"/>
          <p:cNvSpPr txBox="1"/>
          <p:nvPr/>
        </p:nvSpPr>
        <p:spPr bwMode="gray">
          <a:xfrm>
            <a:off x="6804968" y="1893930"/>
            <a:ext cx="1757149" cy="36004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es-CL" sz="1200" dirty="0" smtClean="0">
                <a:latin typeface="Arial"/>
              </a:rPr>
              <a:t>Dice no tener barreras para cumplir su sueño</a:t>
            </a:r>
          </a:p>
        </p:txBody>
      </p:sp>
      <p:graphicFrame>
        <p:nvGraphicFramePr>
          <p:cNvPr id="48" name="47 Gráfico"/>
          <p:cNvGraphicFramePr/>
          <p:nvPr>
            <p:extLst>
              <p:ext uri="{D42A27DB-BD31-4B8C-83A1-F6EECF244321}">
                <p14:modId xmlns:p14="http://schemas.microsoft.com/office/powerpoint/2010/main" val="2334318894"/>
              </p:ext>
            </p:extLst>
          </p:nvPr>
        </p:nvGraphicFramePr>
        <p:xfrm>
          <a:off x="1403648" y="1492374"/>
          <a:ext cx="4217549" cy="1079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7 Conector recto"/>
          <p:cNvCxnSpPr>
            <a:endCxn id="48" idx="1"/>
          </p:cNvCxnSpPr>
          <p:nvPr/>
        </p:nvCxnSpPr>
        <p:spPr>
          <a:xfrm>
            <a:off x="1115616" y="2032062"/>
            <a:ext cx="28803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3833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355922" y="627534"/>
            <a:ext cx="6448326" cy="432048"/>
          </a:xfrm>
        </p:spPr>
        <p:txBody>
          <a:bodyPr/>
          <a:lstStyle/>
          <a:p>
            <a:r>
              <a:rPr lang="es-CL" dirty="0" smtClean="0"/>
              <a:t>¿En </a:t>
            </a:r>
            <a:r>
              <a:rPr lang="es-CL" dirty="0"/>
              <a:t>cuánto tiempo más crees que podrás cumplir con ese sueño?</a:t>
            </a:r>
          </a:p>
        </p:txBody>
      </p:sp>
      <p:sp>
        <p:nvSpPr>
          <p:cNvPr id="7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9" name="8 Flecha arriba"/>
          <p:cNvSpPr/>
          <p:nvPr/>
        </p:nvSpPr>
        <p:spPr bwMode="gray">
          <a:xfrm>
            <a:off x="1217402" y="1563638"/>
            <a:ext cx="216024" cy="864096"/>
          </a:xfrm>
          <a:prstGeom prst="up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12" name="Freeform 29"/>
          <p:cNvSpPr>
            <a:spLocks noEditPoints="1"/>
          </p:cNvSpPr>
          <p:nvPr/>
        </p:nvSpPr>
        <p:spPr bwMode="auto">
          <a:xfrm>
            <a:off x="1103164" y="2427734"/>
            <a:ext cx="444500" cy="796925"/>
          </a:xfrm>
          <a:custGeom>
            <a:avLst/>
            <a:gdLst>
              <a:gd name="T0" fmla="*/ 590 w 738"/>
              <a:gd name="T1" fmla="*/ 367 h 1322"/>
              <a:gd name="T2" fmla="*/ 369 w 738"/>
              <a:gd name="T3" fmla="*/ 419 h 1322"/>
              <a:gd name="T4" fmla="*/ 147 w 738"/>
              <a:gd name="T5" fmla="*/ 367 h 1322"/>
              <a:gd name="T6" fmla="*/ 235 w 738"/>
              <a:gd name="T7" fmla="*/ 439 h 1322"/>
              <a:gd name="T8" fmla="*/ 369 w 738"/>
              <a:gd name="T9" fmla="*/ 557 h 1322"/>
              <a:gd name="T10" fmla="*/ 502 w 738"/>
              <a:gd name="T11" fmla="*/ 439 h 1322"/>
              <a:gd name="T12" fmla="*/ 590 w 738"/>
              <a:gd name="T13" fmla="*/ 367 h 1322"/>
              <a:gd name="T14" fmla="*/ 145 w 738"/>
              <a:gd name="T15" fmla="*/ 1027 h 1322"/>
              <a:gd name="T16" fmla="*/ 145 w 738"/>
              <a:gd name="T17" fmla="*/ 1162 h 1322"/>
              <a:gd name="T18" fmla="*/ 592 w 738"/>
              <a:gd name="T19" fmla="*/ 1162 h 1322"/>
              <a:gd name="T20" fmla="*/ 592 w 738"/>
              <a:gd name="T21" fmla="*/ 1027 h 1322"/>
              <a:gd name="T22" fmla="*/ 369 w 738"/>
              <a:gd name="T23" fmla="*/ 922 h 1322"/>
              <a:gd name="T24" fmla="*/ 145 w 738"/>
              <a:gd name="T25" fmla="*/ 1027 h 1322"/>
              <a:gd name="T26" fmla="*/ 679 w 738"/>
              <a:gd name="T27" fmla="*/ 320 h 1322"/>
              <a:gd name="T28" fmla="*/ 679 w 738"/>
              <a:gd name="T29" fmla="*/ 132 h 1322"/>
              <a:gd name="T30" fmla="*/ 680 w 738"/>
              <a:gd name="T31" fmla="*/ 132 h 1322"/>
              <a:gd name="T32" fmla="*/ 738 w 738"/>
              <a:gd name="T33" fmla="*/ 74 h 1322"/>
              <a:gd name="T34" fmla="*/ 738 w 738"/>
              <a:gd name="T35" fmla="*/ 59 h 1322"/>
              <a:gd name="T36" fmla="*/ 680 w 738"/>
              <a:gd name="T37" fmla="*/ 0 h 1322"/>
              <a:gd name="T38" fmla="*/ 58 w 738"/>
              <a:gd name="T39" fmla="*/ 0 h 1322"/>
              <a:gd name="T40" fmla="*/ 0 w 738"/>
              <a:gd name="T41" fmla="*/ 59 h 1322"/>
              <a:gd name="T42" fmla="*/ 0 w 738"/>
              <a:gd name="T43" fmla="*/ 74 h 1322"/>
              <a:gd name="T44" fmla="*/ 58 w 738"/>
              <a:gd name="T45" fmla="*/ 132 h 1322"/>
              <a:gd name="T46" fmla="*/ 58 w 738"/>
              <a:gd name="T47" fmla="*/ 132 h 1322"/>
              <a:gd name="T48" fmla="*/ 58 w 738"/>
              <a:gd name="T49" fmla="*/ 320 h 1322"/>
              <a:gd name="T50" fmla="*/ 330 w 738"/>
              <a:gd name="T51" fmla="*/ 661 h 1322"/>
              <a:gd name="T52" fmla="*/ 58 w 738"/>
              <a:gd name="T53" fmla="*/ 1002 h 1322"/>
              <a:gd name="T54" fmla="*/ 58 w 738"/>
              <a:gd name="T55" fmla="*/ 1191 h 1322"/>
              <a:gd name="T56" fmla="*/ 58 w 738"/>
              <a:gd name="T57" fmla="*/ 1191 h 1322"/>
              <a:gd name="T58" fmla="*/ 0 w 738"/>
              <a:gd name="T59" fmla="*/ 1249 h 1322"/>
              <a:gd name="T60" fmla="*/ 0 w 738"/>
              <a:gd name="T61" fmla="*/ 1264 h 1322"/>
              <a:gd name="T62" fmla="*/ 58 w 738"/>
              <a:gd name="T63" fmla="*/ 1322 h 1322"/>
              <a:gd name="T64" fmla="*/ 680 w 738"/>
              <a:gd name="T65" fmla="*/ 1322 h 1322"/>
              <a:gd name="T66" fmla="*/ 738 w 738"/>
              <a:gd name="T67" fmla="*/ 1264 h 1322"/>
              <a:gd name="T68" fmla="*/ 738 w 738"/>
              <a:gd name="T69" fmla="*/ 1249 h 1322"/>
              <a:gd name="T70" fmla="*/ 680 w 738"/>
              <a:gd name="T71" fmla="*/ 1191 h 1322"/>
              <a:gd name="T72" fmla="*/ 679 w 738"/>
              <a:gd name="T73" fmla="*/ 1191 h 1322"/>
              <a:gd name="T74" fmla="*/ 679 w 738"/>
              <a:gd name="T75" fmla="*/ 1002 h 1322"/>
              <a:gd name="T76" fmla="*/ 407 w 738"/>
              <a:gd name="T77" fmla="*/ 661 h 1322"/>
              <a:gd name="T78" fmla="*/ 679 w 738"/>
              <a:gd name="T79" fmla="*/ 320 h 1322"/>
              <a:gd name="T80" fmla="*/ 490 w 738"/>
              <a:gd name="T81" fmla="*/ 826 h 1322"/>
              <a:gd name="T82" fmla="*/ 586 w 738"/>
              <a:gd name="T83" fmla="*/ 911 h 1322"/>
              <a:gd name="T84" fmla="*/ 621 w 738"/>
              <a:gd name="T85" fmla="*/ 1002 h 1322"/>
              <a:gd name="T86" fmla="*/ 621 w 738"/>
              <a:gd name="T87" fmla="*/ 1191 h 1322"/>
              <a:gd name="T88" fmla="*/ 116 w 738"/>
              <a:gd name="T89" fmla="*/ 1191 h 1322"/>
              <a:gd name="T90" fmla="*/ 116 w 738"/>
              <a:gd name="T91" fmla="*/ 1002 h 1322"/>
              <a:gd name="T92" fmla="*/ 152 w 738"/>
              <a:gd name="T93" fmla="*/ 911 h 1322"/>
              <a:gd name="T94" fmla="*/ 247 w 738"/>
              <a:gd name="T95" fmla="*/ 826 h 1322"/>
              <a:gd name="T96" fmla="*/ 369 w 738"/>
              <a:gd name="T97" fmla="*/ 710 h 1322"/>
              <a:gd name="T98" fmla="*/ 490 w 738"/>
              <a:gd name="T99" fmla="*/ 826 h 1322"/>
              <a:gd name="T100" fmla="*/ 369 w 738"/>
              <a:gd name="T101" fmla="*/ 612 h 1322"/>
              <a:gd name="T102" fmla="*/ 247 w 738"/>
              <a:gd name="T103" fmla="*/ 496 h 1322"/>
              <a:gd name="T104" fmla="*/ 152 w 738"/>
              <a:gd name="T105" fmla="*/ 411 h 1322"/>
              <a:gd name="T106" fmla="*/ 116 w 738"/>
              <a:gd name="T107" fmla="*/ 320 h 1322"/>
              <a:gd name="T108" fmla="*/ 116 w 738"/>
              <a:gd name="T109" fmla="*/ 132 h 1322"/>
              <a:gd name="T110" fmla="*/ 621 w 738"/>
              <a:gd name="T111" fmla="*/ 132 h 1322"/>
              <a:gd name="T112" fmla="*/ 621 w 738"/>
              <a:gd name="T113" fmla="*/ 320 h 1322"/>
              <a:gd name="T114" fmla="*/ 586 w 738"/>
              <a:gd name="T115" fmla="*/ 411 h 1322"/>
              <a:gd name="T116" fmla="*/ 490 w 738"/>
              <a:gd name="T117" fmla="*/ 496 h 1322"/>
              <a:gd name="T118" fmla="*/ 369 w 738"/>
              <a:gd name="T119" fmla="*/ 612 h 1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38" h="1322">
                <a:moveTo>
                  <a:pt x="590" y="367"/>
                </a:moveTo>
                <a:cubicBezTo>
                  <a:pt x="527" y="400"/>
                  <a:pt x="450" y="419"/>
                  <a:pt x="369" y="419"/>
                </a:cubicBezTo>
                <a:cubicBezTo>
                  <a:pt x="287" y="419"/>
                  <a:pt x="211" y="400"/>
                  <a:pt x="147" y="367"/>
                </a:cubicBezTo>
                <a:cubicBezTo>
                  <a:pt x="173" y="392"/>
                  <a:pt x="205" y="416"/>
                  <a:pt x="235" y="439"/>
                </a:cubicBezTo>
                <a:cubicBezTo>
                  <a:pt x="280" y="473"/>
                  <a:pt x="329" y="511"/>
                  <a:pt x="369" y="557"/>
                </a:cubicBezTo>
                <a:cubicBezTo>
                  <a:pt x="409" y="511"/>
                  <a:pt x="458" y="473"/>
                  <a:pt x="502" y="439"/>
                </a:cubicBezTo>
                <a:cubicBezTo>
                  <a:pt x="533" y="416"/>
                  <a:pt x="564" y="392"/>
                  <a:pt x="590" y="367"/>
                </a:cubicBezTo>
                <a:close/>
                <a:moveTo>
                  <a:pt x="145" y="1027"/>
                </a:moveTo>
                <a:cubicBezTo>
                  <a:pt x="145" y="1162"/>
                  <a:pt x="145" y="1162"/>
                  <a:pt x="145" y="1162"/>
                </a:cubicBezTo>
                <a:cubicBezTo>
                  <a:pt x="592" y="1162"/>
                  <a:pt x="592" y="1162"/>
                  <a:pt x="592" y="1162"/>
                </a:cubicBezTo>
                <a:cubicBezTo>
                  <a:pt x="592" y="1027"/>
                  <a:pt x="592" y="1027"/>
                  <a:pt x="592" y="1027"/>
                </a:cubicBezTo>
                <a:cubicBezTo>
                  <a:pt x="555" y="964"/>
                  <a:pt x="466" y="922"/>
                  <a:pt x="369" y="922"/>
                </a:cubicBezTo>
                <a:cubicBezTo>
                  <a:pt x="271" y="922"/>
                  <a:pt x="183" y="964"/>
                  <a:pt x="145" y="1027"/>
                </a:cubicBezTo>
                <a:close/>
                <a:moveTo>
                  <a:pt x="679" y="320"/>
                </a:moveTo>
                <a:cubicBezTo>
                  <a:pt x="679" y="320"/>
                  <a:pt x="679" y="305"/>
                  <a:pt x="679" y="132"/>
                </a:cubicBezTo>
                <a:cubicBezTo>
                  <a:pt x="680" y="132"/>
                  <a:pt x="680" y="132"/>
                  <a:pt x="680" y="132"/>
                </a:cubicBezTo>
                <a:cubicBezTo>
                  <a:pt x="712" y="132"/>
                  <a:pt x="738" y="106"/>
                  <a:pt x="738" y="74"/>
                </a:cubicBezTo>
                <a:cubicBezTo>
                  <a:pt x="738" y="59"/>
                  <a:pt x="738" y="59"/>
                  <a:pt x="738" y="59"/>
                </a:cubicBezTo>
                <a:cubicBezTo>
                  <a:pt x="738" y="26"/>
                  <a:pt x="712" y="0"/>
                  <a:pt x="680" y="0"/>
                </a:cubicBezTo>
                <a:cubicBezTo>
                  <a:pt x="58" y="0"/>
                  <a:pt x="58" y="0"/>
                  <a:pt x="58" y="0"/>
                </a:cubicBezTo>
                <a:cubicBezTo>
                  <a:pt x="26" y="0"/>
                  <a:pt x="0" y="26"/>
                  <a:pt x="0" y="59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106"/>
                  <a:pt x="26" y="132"/>
                  <a:pt x="58" y="132"/>
                </a:cubicBezTo>
                <a:cubicBezTo>
                  <a:pt x="58" y="132"/>
                  <a:pt x="58" y="132"/>
                  <a:pt x="58" y="132"/>
                </a:cubicBezTo>
                <a:cubicBezTo>
                  <a:pt x="58" y="305"/>
                  <a:pt x="58" y="320"/>
                  <a:pt x="58" y="320"/>
                </a:cubicBezTo>
                <a:cubicBezTo>
                  <a:pt x="58" y="491"/>
                  <a:pt x="274" y="545"/>
                  <a:pt x="330" y="661"/>
                </a:cubicBezTo>
                <a:cubicBezTo>
                  <a:pt x="274" y="777"/>
                  <a:pt x="58" y="832"/>
                  <a:pt x="58" y="1002"/>
                </a:cubicBezTo>
                <a:cubicBezTo>
                  <a:pt x="58" y="1002"/>
                  <a:pt x="58" y="1017"/>
                  <a:pt x="58" y="1191"/>
                </a:cubicBezTo>
                <a:cubicBezTo>
                  <a:pt x="58" y="1191"/>
                  <a:pt x="58" y="1191"/>
                  <a:pt x="58" y="1191"/>
                </a:cubicBezTo>
                <a:cubicBezTo>
                  <a:pt x="26" y="1191"/>
                  <a:pt x="0" y="1217"/>
                  <a:pt x="0" y="1249"/>
                </a:cubicBezTo>
                <a:cubicBezTo>
                  <a:pt x="0" y="1264"/>
                  <a:pt x="0" y="1264"/>
                  <a:pt x="0" y="1264"/>
                </a:cubicBezTo>
                <a:cubicBezTo>
                  <a:pt x="0" y="1296"/>
                  <a:pt x="26" y="1322"/>
                  <a:pt x="58" y="1322"/>
                </a:cubicBezTo>
                <a:cubicBezTo>
                  <a:pt x="680" y="1322"/>
                  <a:pt x="680" y="1322"/>
                  <a:pt x="680" y="1322"/>
                </a:cubicBezTo>
                <a:cubicBezTo>
                  <a:pt x="712" y="1322"/>
                  <a:pt x="738" y="1296"/>
                  <a:pt x="738" y="1264"/>
                </a:cubicBezTo>
                <a:cubicBezTo>
                  <a:pt x="738" y="1249"/>
                  <a:pt x="738" y="1249"/>
                  <a:pt x="738" y="1249"/>
                </a:cubicBezTo>
                <a:cubicBezTo>
                  <a:pt x="738" y="1217"/>
                  <a:pt x="712" y="1191"/>
                  <a:pt x="680" y="1191"/>
                </a:cubicBezTo>
                <a:cubicBezTo>
                  <a:pt x="679" y="1191"/>
                  <a:pt x="679" y="1191"/>
                  <a:pt x="679" y="1191"/>
                </a:cubicBezTo>
                <a:cubicBezTo>
                  <a:pt x="679" y="1017"/>
                  <a:pt x="679" y="1002"/>
                  <a:pt x="679" y="1002"/>
                </a:cubicBezTo>
                <a:cubicBezTo>
                  <a:pt x="679" y="832"/>
                  <a:pt x="464" y="777"/>
                  <a:pt x="407" y="661"/>
                </a:cubicBezTo>
                <a:cubicBezTo>
                  <a:pt x="464" y="545"/>
                  <a:pt x="679" y="491"/>
                  <a:pt x="679" y="320"/>
                </a:cubicBezTo>
                <a:close/>
                <a:moveTo>
                  <a:pt x="490" y="826"/>
                </a:moveTo>
                <a:cubicBezTo>
                  <a:pt x="525" y="853"/>
                  <a:pt x="561" y="881"/>
                  <a:pt x="586" y="911"/>
                </a:cubicBezTo>
                <a:cubicBezTo>
                  <a:pt x="610" y="940"/>
                  <a:pt x="621" y="969"/>
                  <a:pt x="621" y="1002"/>
                </a:cubicBezTo>
                <a:cubicBezTo>
                  <a:pt x="621" y="1191"/>
                  <a:pt x="621" y="1191"/>
                  <a:pt x="621" y="1191"/>
                </a:cubicBezTo>
                <a:cubicBezTo>
                  <a:pt x="116" y="1191"/>
                  <a:pt x="116" y="1191"/>
                  <a:pt x="116" y="1191"/>
                </a:cubicBezTo>
                <a:cubicBezTo>
                  <a:pt x="116" y="1002"/>
                  <a:pt x="116" y="1002"/>
                  <a:pt x="116" y="1002"/>
                </a:cubicBezTo>
                <a:cubicBezTo>
                  <a:pt x="116" y="969"/>
                  <a:pt x="128" y="940"/>
                  <a:pt x="152" y="911"/>
                </a:cubicBezTo>
                <a:cubicBezTo>
                  <a:pt x="177" y="881"/>
                  <a:pt x="213" y="853"/>
                  <a:pt x="247" y="826"/>
                </a:cubicBezTo>
                <a:cubicBezTo>
                  <a:pt x="291" y="793"/>
                  <a:pt x="338" y="756"/>
                  <a:pt x="369" y="710"/>
                </a:cubicBezTo>
                <a:cubicBezTo>
                  <a:pt x="399" y="756"/>
                  <a:pt x="446" y="793"/>
                  <a:pt x="490" y="826"/>
                </a:cubicBezTo>
                <a:close/>
                <a:moveTo>
                  <a:pt x="369" y="612"/>
                </a:moveTo>
                <a:cubicBezTo>
                  <a:pt x="338" y="566"/>
                  <a:pt x="291" y="530"/>
                  <a:pt x="247" y="496"/>
                </a:cubicBezTo>
                <a:cubicBezTo>
                  <a:pt x="213" y="469"/>
                  <a:pt x="177" y="442"/>
                  <a:pt x="152" y="411"/>
                </a:cubicBezTo>
                <a:cubicBezTo>
                  <a:pt x="128" y="382"/>
                  <a:pt x="116" y="353"/>
                  <a:pt x="116" y="320"/>
                </a:cubicBezTo>
                <a:cubicBezTo>
                  <a:pt x="116" y="132"/>
                  <a:pt x="116" y="132"/>
                  <a:pt x="116" y="132"/>
                </a:cubicBezTo>
                <a:cubicBezTo>
                  <a:pt x="621" y="132"/>
                  <a:pt x="621" y="132"/>
                  <a:pt x="621" y="132"/>
                </a:cubicBezTo>
                <a:cubicBezTo>
                  <a:pt x="621" y="320"/>
                  <a:pt x="621" y="320"/>
                  <a:pt x="621" y="320"/>
                </a:cubicBezTo>
                <a:cubicBezTo>
                  <a:pt x="621" y="353"/>
                  <a:pt x="610" y="382"/>
                  <a:pt x="586" y="411"/>
                </a:cubicBezTo>
                <a:cubicBezTo>
                  <a:pt x="561" y="442"/>
                  <a:pt x="525" y="469"/>
                  <a:pt x="490" y="496"/>
                </a:cubicBezTo>
                <a:cubicBezTo>
                  <a:pt x="446" y="530"/>
                  <a:pt x="399" y="566"/>
                  <a:pt x="369" y="61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13 Flecha arriba"/>
          <p:cNvSpPr/>
          <p:nvPr/>
        </p:nvSpPr>
        <p:spPr bwMode="gray">
          <a:xfrm>
            <a:off x="1217402" y="3075806"/>
            <a:ext cx="216024" cy="1152128"/>
          </a:xfrm>
          <a:prstGeom prst="up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11" name="10 Gráfico"/>
          <p:cNvGraphicFramePr/>
          <p:nvPr>
            <p:extLst>
              <p:ext uri="{D42A27DB-BD31-4B8C-83A1-F6EECF244321}">
                <p14:modId xmlns:p14="http://schemas.microsoft.com/office/powerpoint/2010/main" val="2450821736"/>
              </p:ext>
            </p:extLst>
          </p:nvPr>
        </p:nvGraphicFramePr>
        <p:xfrm>
          <a:off x="1547664" y="1714500"/>
          <a:ext cx="5733368" cy="2385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5" name="14 Conector recto"/>
          <p:cNvCxnSpPr/>
          <p:nvPr/>
        </p:nvCxnSpPr>
        <p:spPr>
          <a:xfrm>
            <a:off x="1325414" y="4227934"/>
            <a:ext cx="6198914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8947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355922" y="555526"/>
            <a:ext cx="6448326" cy="432048"/>
          </a:xfrm>
        </p:spPr>
        <p:txBody>
          <a:bodyPr/>
          <a:lstStyle/>
          <a:p>
            <a:r>
              <a:rPr lang="es-CL" dirty="0" smtClean="0"/>
              <a:t>¿</a:t>
            </a:r>
            <a:r>
              <a:rPr lang="es-CL" dirty="0"/>
              <a:t>Por qué ese sueño es tan importante para ti</a:t>
            </a:r>
            <a:r>
              <a:rPr lang="es-CL" dirty="0" smtClean="0"/>
              <a:t>? </a:t>
            </a:r>
            <a:br>
              <a:rPr lang="es-CL" dirty="0" smtClean="0"/>
            </a:br>
            <a:r>
              <a:rPr lang="es-CL" sz="1400" dirty="0" smtClean="0"/>
              <a:t>(respuesta múltiple)</a:t>
            </a:r>
            <a:endParaRPr lang="es-CL" sz="1400" dirty="0"/>
          </a:p>
        </p:txBody>
      </p:sp>
      <p:sp>
        <p:nvSpPr>
          <p:cNvPr id="7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817685867"/>
              </p:ext>
            </p:extLst>
          </p:nvPr>
        </p:nvGraphicFramePr>
        <p:xfrm>
          <a:off x="179512" y="1563638"/>
          <a:ext cx="6096000" cy="2896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6439646"/>
              </p:ext>
            </p:extLst>
          </p:nvPr>
        </p:nvGraphicFramePr>
        <p:xfrm>
          <a:off x="5796136" y="1095920"/>
          <a:ext cx="1728000" cy="26806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00"/>
                <a:gridCol w="864000"/>
              </a:tblGrid>
              <a:tr h="611734">
                <a:tc>
                  <a:txBody>
                    <a:bodyPr/>
                    <a:lstStyle/>
                    <a:p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L" dirty="0"/>
                    </a:p>
                  </a:txBody>
                  <a:tcPr/>
                </a:tc>
              </a:tr>
              <a:tr h="295554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8%</a:t>
                      </a:r>
                    </a:p>
                  </a:txBody>
                  <a:tcPr marL="9525" marR="9525" marT="9525" marB="0" anchor="ctr"/>
                </a:tc>
              </a:tr>
              <a:tr h="295554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%</a:t>
                      </a:r>
                    </a:p>
                  </a:txBody>
                  <a:tcPr marL="9525" marR="9525" marT="9525" marB="0" anchor="ctr"/>
                </a:tc>
              </a:tr>
              <a:tr h="295554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%</a:t>
                      </a:r>
                    </a:p>
                  </a:txBody>
                  <a:tcPr marL="9525" marR="9525" marT="9525" marB="0" anchor="ctr"/>
                </a:tc>
              </a:tr>
              <a:tr h="295554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9525" marR="9525" marT="9525" marB="0" anchor="ctr"/>
                </a:tc>
              </a:tr>
              <a:tr h="295554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9525" marR="9525" marT="9525" marB="0" anchor="ctr"/>
                </a:tc>
              </a:tr>
              <a:tr h="295554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%</a:t>
                      </a:r>
                    </a:p>
                  </a:txBody>
                  <a:tcPr marL="9525" marR="9525" marT="9525" marB="0" anchor="ctr"/>
                </a:tc>
              </a:tr>
              <a:tr h="295554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%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13" name="Oval 22"/>
          <p:cNvSpPr>
            <a:spLocks noChangeArrowheads="1"/>
          </p:cNvSpPr>
          <p:nvPr/>
        </p:nvSpPr>
        <p:spPr bwMode="gray">
          <a:xfrm>
            <a:off x="6087130" y="1200142"/>
            <a:ext cx="252134" cy="435504"/>
          </a:xfrm>
          <a:custGeom>
            <a:avLst/>
            <a:gdLst/>
            <a:ahLst/>
            <a:cxnLst/>
            <a:rect l="l" t="t" r="r" b="b"/>
            <a:pathLst>
              <a:path w="248606" h="495932">
                <a:moveTo>
                  <a:pt x="85781" y="92257"/>
                </a:moveTo>
                <a:cubicBezTo>
                  <a:pt x="85781" y="92257"/>
                  <a:pt x="85781" y="92257"/>
                  <a:pt x="124412" y="92257"/>
                </a:cubicBezTo>
                <a:cubicBezTo>
                  <a:pt x="124412" y="92257"/>
                  <a:pt x="124412" y="92257"/>
                  <a:pt x="126283" y="92257"/>
                </a:cubicBezTo>
                <a:lnTo>
                  <a:pt x="139386" y="92257"/>
                </a:lnTo>
                <a:cubicBezTo>
                  <a:pt x="139386" y="92257"/>
                  <a:pt x="139386" y="92257"/>
                  <a:pt x="162825" y="92257"/>
                </a:cubicBezTo>
                <a:cubicBezTo>
                  <a:pt x="188869" y="92257"/>
                  <a:pt x="199720" y="106369"/>
                  <a:pt x="209486" y="135677"/>
                </a:cubicBezTo>
                <a:cubicBezTo>
                  <a:pt x="209486" y="135677"/>
                  <a:pt x="209486" y="135677"/>
                  <a:pt x="247466" y="253998"/>
                </a:cubicBezTo>
                <a:cubicBezTo>
                  <a:pt x="255062" y="276793"/>
                  <a:pt x="222508" y="287649"/>
                  <a:pt x="214912" y="264853"/>
                </a:cubicBezTo>
                <a:cubicBezTo>
                  <a:pt x="214912" y="264853"/>
                  <a:pt x="214912" y="264853"/>
                  <a:pt x="179102" y="155217"/>
                </a:cubicBezTo>
                <a:cubicBezTo>
                  <a:pt x="174762" y="155217"/>
                  <a:pt x="174762" y="155217"/>
                  <a:pt x="174762" y="333023"/>
                </a:cubicBezTo>
                <a:cubicBezTo>
                  <a:pt x="174762" y="333023"/>
                  <a:pt x="174762" y="333023"/>
                  <a:pt x="174762" y="471099"/>
                </a:cubicBezTo>
                <a:cubicBezTo>
                  <a:pt x="174762" y="504750"/>
                  <a:pt x="128101" y="503665"/>
                  <a:pt x="127016" y="471099"/>
                </a:cubicBezTo>
                <a:cubicBezTo>
                  <a:pt x="127016" y="471099"/>
                  <a:pt x="127016" y="471099"/>
                  <a:pt x="127016" y="287649"/>
                </a:cubicBezTo>
                <a:cubicBezTo>
                  <a:pt x="127016" y="287649"/>
                  <a:pt x="127016" y="287649"/>
                  <a:pt x="126202" y="287649"/>
                </a:cubicBezTo>
                <a:lnTo>
                  <a:pt x="120505" y="287649"/>
                </a:lnTo>
                <a:cubicBezTo>
                  <a:pt x="120505" y="287649"/>
                  <a:pt x="120505" y="287649"/>
                  <a:pt x="120505" y="471099"/>
                </a:cubicBezTo>
                <a:cubicBezTo>
                  <a:pt x="120505" y="503665"/>
                  <a:pt x="73844" y="504750"/>
                  <a:pt x="73844" y="471099"/>
                </a:cubicBezTo>
                <a:cubicBezTo>
                  <a:pt x="73844" y="471099"/>
                  <a:pt x="73844" y="471099"/>
                  <a:pt x="73844" y="155217"/>
                </a:cubicBezTo>
                <a:cubicBezTo>
                  <a:pt x="69504" y="155217"/>
                  <a:pt x="69504" y="155217"/>
                  <a:pt x="33694" y="264853"/>
                </a:cubicBezTo>
                <a:cubicBezTo>
                  <a:pt x="26098" y="287649"/>
                  <a:pt x="-6456" y="276793"/>
                  <a:pt x="1140" y="253998"/>
                </a:cubicBezTo>
                <a:cubicBezTo>
                  <a:pt x="1140" y="253998"/>
                  <a:pt x="1140" y="253998"/>
                  <a:pt x="39120" y="135677"/>
                </a:cubicBezTo>
                <a:cubicBezTo>
                  <a:pt x="48886" y="106369"/>
                  <a:pt x="59737" y="92257"/>
                  <a:pt x="85781" y="92257"/>
                </a:cubicBezTo>
                <a:close/>
                <a:moveTo>
                  <a:pt x="124258" y="0"/>
                </a:moveTo>
                <a:cubicBezTo>
                  <a:pt x="146613" y="0"/>
                  <a:pt x="164736" y="18123"/>
                  <a:pt x="164736" y="40478"/>
                </a:cubicBezTo>
                <a:cubicBezTo>
                  <a:pt x="164736" y="62833"/>
                  <a:pt x="146613" y="80956"/>
                  <a:pt x="124258" y="80956"/>
                </a:cubicBezTo>
                <a:cubicBezTo>
                  <a:pt x="101903" y="80956"/>
                  <a:pt x="83780" y="62833"/>
                  <a:pt x="83780" y="40478"/>
                </a:cubicBezTo>
                <a:cubicBezTo>
                  <a:pt x="83780" y="18123"/>
                  <a:pt x="101903" y="0"/>
                  <a:pt x="124258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Oval 8"/>
          <p:cNvSpPr>
            <a:spLocks noChangeArrowheads="1"/>
          </p:cNvSpPr>
          <p:nvPr/>
        </p:nvSpPr>
        <p:spPr bwMode="gray">
          <a:xfrm>
            <a:off x="6963944" y="1200150"/>
            <a:ext cx="206287" cy="435495"/>
          </a:xfrm>
          <a:custGeom>
            <a:avLst/>
            <a:gdLst/>
            <a:ahLst/>
            <a:cxnLst/>
            <a:rect l="l" t="t" r="r" b="b"/>
            <a:pathLst>
              <a:path w="227685" h="497559">
                <a:moveTo>
                  <a:pt x="85908" y="92067"/>
                </a:moveTo>
                <a:cubicBezTo>
                  <a:pt x="141893" y="92067"/>
                  <a:pt x="141893" y="92067"/>
                  <a:pt x="141893" y="92067"/>
                </a:cubicBezTo>
                <a:cubicBezTo>
                  <a:pt x="170221" y="92736"/>
                  <a:pt x="186949" y="116381"/>
                  <a:pt x="191857" y="129541"/>
                </a:cubicBezTo>
                <a:cubicBezTo>
                  <a:pt x="226652" y="245308"/>
                  <a:pt x="226652" y="245308"/>
                  <a:pt x="226652" y="245308"/>
                </a:cubicBezTo>
                <a:cubicBezTo>
                  <a:pt x="233790" y="270514"/>
                  <a:pt x="201894" y="280998"/>
                  <a:pt x="194310" y="256684"/>
                </a:cubicBezTo>
                <a:cubicBezTo>
                  <a:pt x="163083" y="149393"/>
                  <a:pt x="163083" y="149393"/>
                  <a:pt x="163083" y="149393"/>
                </a:cubicBezTo>
                <a:lnTo>
                  <a:pt x="154496" y="149393"/>
                </a:lnTo>
                <a:cubicBezTo>
                  <a:pt x="153269" y="149393"/>
                  <a:pt x="153269" y="149393"/>
                  <a:pt x="153269" y="149393"/>
                </a:cubicBezTo>
                <a:cubicBezTo>
                  <a:pt x="207916" y="337655"/>
                  <a:pt x="207916" y="337655"/>
                  <a:pt x="207916" y="337655"/>
                </a:cubicBezTo>
                <a:cubicBezTo>
                  <a:pt x="156838" y="337655"/>
                  <a:pt x="156838" y="337655"/>
                  <a:pt x="156838" y="337655"/>
                </a:cubicBezTo>
                <a:cubicBezTo>
                  <a:pt x="156838" y="478405"/>
                  <a:pt x="156838" y="478405"/>
                  <a:pt x="156838" y="478405"/>
                </a:cubicBezTo>
                <a:cubicBezTo>
                  <a:pt x="157284" y="504056"/>
                  <a:pt x="119365" y="503833"/>
                  <a:pt x="119588" y="478405"/>
                </a:cubicBezTo>
                <a:cubicBezTo>
                  <a:pt x="119588" y="337655"/>
                  <a:pt x="119588" y="337655"/>
                  <a:pt x="119588" y="337655"/>
                </a:cubicBezTo>
                <a:lnTo>
                  <a:pt x="108436" y="337655"/>
                </a:lnTo>
                <a:cubicBezTo>
                  <a:pt x="108436" y="478405"/>
                  <a:pt x="108436" y="478405"/>
                  <a:pt x="108436" y="478405"/>
                </a:cubicBezTo>
                <a:cubicBezTo>
                  <a:pt x="108213" y="504056"/>
                  <a:pt x="70071" y="504056"/>
                  <a:pt x="69625" y="478405"/>
                </a:cubicBezTo>
                <a:cubicBezTo>
                  <a:pt x="69625" y="337655"/>
                  <a:pt x="69625" y="337655"/>
                  <a:pt x="69625" y="337655"/>
                </a:cubicBezTo>
                <a:cubicBezTo>
                  <a:pt x="19885" y="337655"/>
                  <a:pt x="19885" y="337655"/>
                  <a:pt x="19885" y="337655"/>
                </a:cubicBezTo>
                <a:cubicBezTo>
                  <a:pt x="73417" y="149393"/>
                  <a:pt x="73417" y="149393"/>
                  <a:pt x="73417" y="149393"/>
                </a:cubicBezTo>
                <a:lnTo>
                  <a:pt x="65805" y="149393"/>
                </a:lnTo>
                <a:cubicBezTo>
                  <a:pt x="64718" y="149393"/>
                  <a:pt x="64718" y="149393"/>
                  <a:pt x="64718" y="149393"/>
                </a:cubicBezTo>
                <a:cubicBezTo>
                  <a:pt x="33491" y="256684"/>
                  <a:pt x="33491" y="256684"/>
                  <a:pt x="33491" y="256684"/>
                </a:cubicBezTo>
                <a:cubicBezTo>
                  <a:pt x="25684" y="280329"/>
                  <a:pt x="-6435" y="270737"/>
                  <a:pt x="1149" y="245308"/>
                </a:cubicBezTo>
                <a:cubicBezTo>
                  <a:pt x="36168" y="129541"/>
                  <a:pt x="36168" y="129541"/>
                  <a:pt x="36168" y="129541"/>
                </a:cubicBezTo>
                <a:cubicBezTo>
                  <a:pt x="40182" y="116158"/>
                  <a:pt x="56911" y="92736"/>
                  <a:pt x="85908" y="92067"/>
                </a:cubicBezTo>
                <a:close/>
                <a:moveTo>
                  <a:pt x="113914" y="0"/>
                </a:moveTo>
                <a:cubicBezTo>
                  <a:pt x="136261" y="0"/>
                  <a:pt x="154377" y="18116"/>
                  <a:pt x="154377" y="40463"/>
                </a:cubicBezTo>
                <a:cubicBezTo>
                  <a:pt x="154377" y="62810"/>
                  <a:pt x="136261" y="80926"/>
                  <a:pt x="113914" y="80926"/>
                </a:cubicBezTo>
                <a:cubicBezTo>
                  <a:pt x="91567" y="80926"/>
                  <a:pt x="73451" y="62810"/>
                  <a:pt x="73451" y="40463"/>
                </a:cubicBezTo>
                <a:cubicBezTo>
                  <a:pt x="73451" y="18116"/>
                  <a:pt x="91567" y="0"/>
                  <a:pt x="113914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4 CuadroTexto"/>
          <p:cNvSpPr txBox="1"/>
          <p:nvPr/>
        </p:nvSpPr>
        <p:spPr bwMode="gray">
          <a:xfrm>
            <a:off x="5796136" y="3867894"/>
            <a:ext cx="1728192" cy="43204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sz="1200" b="1" dirty="0" smtClean="0">
                <a:latin typeface="Arial"/>
              </a:rPr>
              <a:t>Diferencia entre hombres y mujeres</a:t>
            </a:r>
          </a:p>
        </p:txBody>
      </p:sp>
    </p:spTree>
    <p:extLst>
      <p:ext uri="{BB962C8B-B14F-4D97-AF65-F5344CB8AC3E}">
        <p14:creationId xmlns:p14="http://schemas.microsoft.com/office/powerpoint/2010/main" val="1213861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265"/>
          <p:cNvSpPr/>
          <p:nvPr/>
        </p:nvSpPr>
        <p:spPr bwMode="gray">
          <a:xfrm>
            <a:off x="323850" y="1275606"/>
            <a:ext cx="8568630" cy="1079376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323851" y="411510"/>
            <a:ext cx="6696421" cy="576105"/>
          </a:xfrm>
        </p:spPr>
        <p:txBody>
          <a:bodyPr/>
          <a:lstStyle/>
          <a:p>
            <a:r>
              <a:rPr lang="es-ES_tradnl" dirty="0" smtClean="0"/>
              <a:t>¿Cómo te sentirías al poder realizar este sueño?</a:t>
            </a:r>
            <a:br>
              <a:rPr lang="es-ES_tradnl" dirty="0" smtClean="0"/>
            </a:br>
            <a:r>
              <a:rPr lang="es-ES_tradnl" sz="1400" dirty="0" smtClean="0"/>
              <a:t>(respuesta múltiple)</a:t>
            </a:r>
            <a:endParaRPr lang="es-CL" sz="1100" dirty="0"/>
          </a:p>
        </p:txBody>
      </p:sp>
      <p:sp>
        <p:nvSpPr>
          <p:cNvPr id="5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2" name="1 CuadroTexto"/>
          <p:cNvSpPr txBox="1"/>
          <p:nvPr/>
        </p:nvSpPr>
        <p:spPr bwMode="gray">
          <a:xfrm>
            <a:off x="539552" y="1285405"/>
            <a:ext cx="1131654" cy="34949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400" dirty="0" err="1" smtClean="0">
                <a:solidFill>
                  <a:schemeClr val="bg2"/>
                </a:solidFill>
                <a:latin typeface="Arial"/>
              </a:rPr>
              <a:t>Feliz</a:t>
            </a:r>
            <a:endParaRPr lang="es-CL" sz="1400" dirty="0" smtClean="0">
              <a:solidFill>
                <a:schemeClr val="bg2"/>
              </a:solidFill>
              <a:latin typeface="Arial"/>
            </a:endParaRPr>
          </a:p>
        </p:txBody>
      </p:sp>
      <p:sp>
        <p:nvSpPr>
          <p:cNvPr id="18" name="Rechteck 265"/>
          <p:cNvSpPr/>
          <p:nvPr/>
        </p:nvSpPr>
        <p:spPr bwMode="gray">
          <a:xfrm>
            <a:off x="323528" y="2428478"/>
            <a:ext cx="8568630" cy="1079376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20" name="19 CuadroTexto"/>
          <p:cNvSpPr txBox="1"/>
          <p:nvPr/>
        </p:nvSpPr>
        <p:spPr bwMode="gray">
          <a:xfrm>
            <a:off x="251520" y="2438277"/>
            <a:ext cx="1728514" cy="34949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400" dirty="0" err="1" smtClean="0">
                <a:solidFill>
                  <a:schemeClr val="bg2"/>
                </a:solidFill>
                <a:latin typeface="Arial"/>
              </a:rPr>
              <a:t>Realizado</a:t>
            </a:r>
            <a:endParaRPr lang="es-CL" sz="1400" dirty="0" smtClean="0">
              <a:solidFill>
                <a:schemeClr val="bg2"/>
              </a:solidFill>
              <a:latin typeface="Arial"/>
            </a:endParaRPr>
          </a:p>
        </p:txBody>
      </p:sp>
      <p:sp>
        <p:nvSpPr>
          <p:cNvPr id="21" name="Rechteck 265"/>
          <p:cNvSpPr/>
          <p:nvPr/>
        </p:nvSpPr>
        <p:spPr bwMode="gray">
          <a:xfrm>
            <a:off x="323528" y="3580606"/>
            <a:ext cx="8568630" cy="1079376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23" name="22 CuadroTexto"/>
          <p:cNvSpPr txBox="1"/>
          <p:nvPr/>
        </p:nvSpPr>
        <p:spPr bwMode="gray">
          <a:xfrm>
            <a:off x="560026" y="3590405"/>
            <a:ext cx="1131654" cy="34949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400" dirty="0" err="1" smtClean="0">
                <a:solidFill>
                  <a:schemeClr val="bg2"/>
                </a:solidFill>
                <a:latin typeface="Arial"/>
              </a:rPr>
              <a:t>Entusiasmado</a:t>
            </a:r>
            <a:endParaRPr lang="es-CL" sz="1400" dirty="0" smtClean="0">
              <a:solidFill>
                <a:schemeClr val="bg2"/>
              </a:solidFill>
              <a:latin typeface="Arial"/>
            </a:endParaRPr>
          </a:p>
        </p:txBody>
      </p:sp>
      <p:graphicFrame>
        <p:nvGraphicFramePr>
          <p:cNvPr id="26" name="25 Gráfico"/>
          <p:cNvGraphicFramePr/>
          <p:nvPr>
            <p:extLst>
              <p:ext uri="{D42A27DB-BD31-4B8C-83A1-F6EECF244321}">
                <p14:modId xmlns:p14="http://schemas.microsoft.com/office/powerpoint/2010/main" val="2500302132"/>
              </p:ext>
            </p:extLst>
          </p:nvPr>
        </p:nvGraphicFramePr>
        <p:xfrm>
          <a:off x="2771800" y="1275606"/>
          <a:ext cx="6120680" cy="1079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7" name="26 Gráfico"/>
          <p:cNvGraphicFramePr/>
          <p:nvPr>
            <p:extLst>
              <p:ext uri="{D42A27DB-BD31-4B8C-83A1-F6EECF244321}">
                <p14:modId xmlns:p14="http://schemas.microsoft.com/office/powerpoint/2010/main" val="2249454448"/>
              </p:ext>
            </p:extLst>
          </p:nvPr>
        </p:nvGraphicFramePr>
        <p:xfrm>
          <a:off x="2752825" y="2428478"/>
          <a:ext cx="6120680" cy="1079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8" name="27 Gráfico"/>
          <p:cNvGraphicFramePr/>
          <p:nvPr>
            <p:extLst>
              <p:ext uri="{D42A27DB-BD31-4B8C-83A1-F6EECF244321}">
                <p14:modId xmlns:p14="http://schemas.microsoft.com/office/powerpoint/2010/main" val="4075202609"/>
              </p:ext>
            </p:extLst>
          </p:nvPr>
        </p:nvGraphicFramePr>
        <p:xfrm>
          <a:off x="2771800" y="3580606"/>
          <a:ext cx="6120680" cy="1079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Freeform 41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838699" y="1634902"/>
            <a:ext cx="533360" cy="533360"/>
          </a:xfrm>
          <a:custGeom>
            <a:avLst/>
            <a:gdLst>
              <a:gd name="T0" fmla="*/ 1040 w 2080"/>
              <a:gd name="T1" fmla="*/ 0 h 2080"/>
              <a:gd name="T2" fmla="*/ 2080 w 2080"/>
              <a:gd name="T3" fmla="*/ 1040 h 2080"/>
              <a:gd name="T4" fmla="*/ 1040 w 2080"/>
              <a:gd name="T5" fmla="*/ 2080 h 2080"/>
              <a:gd name="T6" fmla="*/ 0 w 2080"/>
              <a:gd name="T7" fmla="*/ 1040 h 2080"/>
              <a:gd name="T8" fmla="*/ 1040 w 2080"/>
              <a:gd name="T9" fmla="*/ 0 h 2080"/>
              <a:gd name="T10" fmla="*/ 720 w 2080"/>
              <a:gd name="T11" fmla="*/ 640 h 2080"/>
              <a:gd name="T12" fmla="*/ 560 w 2080"/>
              <a:gd name="T13" fmla="*/ 800 h 2080"/>
              <a:gd name="T14" fmla="*/ 720 w 2080"/>
              <a:gd name="T15" fmla="*/ 960 h 2080"/>
              <a:gd name="T16" fmla="*/ 880 w 2080"/>
              <a:gd name="T17" fmla="*/ 800 h 2080"/>
              <a:gd name="T18" fmla="*/ 720 w 2080"/>
              <a:gd name="T19" fmla="*/ 640 h 2080"/>
              <a:gd name="T20" fmla="*/ 1360 w 2080"/>
              <a:gd name="T21" fmla="*/ 640 h 2080"/>
              <a:gd name="T22" fmla="*/ 1200 w 2080"/>
              <a:gd name="T23" fmla="*/ 800 h 2080"/>
              <a:gd name="T24" fmla="*/ 1360 w 2080"/>
              <a:gd name="T25" fmla="*/ 960 h 2080"/>
              <a:gd name="T26" fmla="*/ 1520 w 2080"/>
              <a:gd name="T27" fmla="*/ 800 h 2080"/>
              <a:gd name="T28" fmla="*/ 1360 w 2080"/>
              <a:gd name="T29" fmla="*/ 640 h 2080"/>
              <a:gd name="T30" fmla="*/ 1634 w 2080"/>
              <a:gd name="T31" fmla="*/ 1370 h 2080"/>
              <a:gd name="T32" fmla="*/ 1565 w 2080"/>
              <a:gd name="T33" fmla="*/ 1332 h 2080"/>
              <a:gd name="T34" fmla="*/ 1040 w 2080"/>
              <a:gd name="T35" fmla="*/ 1640 h 2080"/>
              <a:gd name="T36" fmla="*/ 515 w 2080"/>
              <a:gd name="T37" fmla="*/ 1332 h 2080"/>
              <a:gd name="T38" fmla="*/ 446 w 2080"/>
              <a:gd name="T39" fmla="*/ 1370 h 2080"/>
              <a:gd name="T40" fmla="*/ 1040 w 2080"/>
              <a:gd name="T41" fmla="*/ 1720 h 2080"/>
              <a:gd name="T42" fmla="*/ 1634 w 2080"/>
              <a:gd name="T43" fmla="*/ 137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80" h="2080">
                <a:moveTo>
                  <a:pt x="1040" y="0"/>
                </a:moveTo>
                <a:cubicBezTo>
                  <a:pt x="1614" y="0"/>
                  <a:pt x="2080" y="466"/>
                  <a:pt x="2080" y="1040"/>
                </a:cubicBezTo>
                <a:cubicBezTo>
                  <a:pt x="2080" y="1614"/>
                  <a:pt x="1614" y="2080"/>
                  <a:pt x="1040" y="2080"/>
                </a:cubicBezTo>
                <a:cubicBezTo>
                  <a:pt x="466" y="2080"/>
                  <a:pt x="0" y="1614"/>
                  <a:pt x="0" y="1040"/>
                </a:cubicBezTo>
                <a:cubicBezTo>
                  <a:pt x="0" y="466"/>
                  <a:pt x="466" y="0"/>
                  <a:pt x="1040" y="0"/>
                </a:cubicBezTo>
                <a:close/>
                <a:moveTo>
                  <a:pt x="720" y="640"/>
                </a:moveTo>
                <a:cubicBezTo>
                  <a:pt x="632" y="640"/>
                  <a:pt x="560" y="712"/>
                  <a:pt x="560" y="800"/>
                </a:cubicBezTo>
                <a:cubicBezTo>
                  <a:pt x="560" y="888"/>
                  <a:pt x="632" y="960"/>
                  <a:pt x="720" y="960"/>
                </a:cubicBezTo>
                <a:cubicBezTo>
                  <a:pt x="808" y="960"/>
                  <a:pt x="880" y="888"/>
                  <a:pt x="880" y="800"/>
                </a:cubicBezTo>
                <a:cubicBezTo>
                  <a:pt x="880" y="712"/>
                  <a:pt x="808" y="640"/>
                  <a:pt x="720" y="640"/>
                </a:cubicBezTo>
                <a:close/>
                <a:moveTo>
                  <a:pt x="1360" y="640"/>
                </a:moveTo>
                <a:cubicBezTo>
                  <a:pt x="1272" y="640"/>
                  <a:pt x="1200" y="712"/>
                  <a:pt x="1200" y="800"/>
                </a:cubicBezTo>
                <a:cubicBezTo>
                  <a:pt x="1200" y="888"/>
                  <a:pt x="1272" y="960"/>
                  <a:pt x="1360" y="960"/>
                </a:cubicBezTo>
                <a:cubicBezTo>
                  <a:pt x="1448" y="960"/>
                  <a:pt x="1520" y="888"/>
                  <a:pt x="1520" y="800"/>
                </a:cubicBezTo>
                <a:cubicBezTo>
                  <a:pt x="1520" y="712"/>
                  <a:pt x="1448" y="640"/>
                  <a:pt x="1360" y="640"/>
                </a:cubicBezTo>
                <a:close/>
                <a:moveTo>
                  <a:pt x="1634" y="1370"/>
                </a:moveTo>
                <a:cubicBezTo>
                  <a:pt x="1565" y="1332"/>
                  <a:pt x="1565" y="1332"/>
                  <a:pt x="1565" y="1332"/>
                </a:cubicBezTo>
                <a:cubicBezTo>
                  <a:pt x="1458" y="1522"/>
                  <a:pt x="1258" y="1640"/>
                  <a:pt x="1040" y="1640"/>
                </a:cubicBezTo>
                <a:cubicBezTo>
                  <a:pt x="822" y="1640"/>
                  <a:pt x="622" y="1522"/>
                  <a:pt x="515" y="1332"/>
                </a:cubicBezTo>
                <a:cubicBezTo>
                  <a:pt x="446" y="1370"/>
                  <a:pt x="446" y="1370"/>
                  <a:pt x="446" y="1370"/>
                </a:cubicBezTo>
                <a:cubicBezTo>
                  <a:pt x="566" y="1586"/>
                  <a:pt x="793" y="1720"/>
                  <a:pt x="1040" y="1720"/>
                </a:cubicBezTo>
                <a:cubicBezTo>
                  <a:pt x="1287" y="1720"/>
                  <a:pt x="1514" y="1586"/>
                  <a:pt x="1634" y="137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" name="3 Grupo"/>
          <p:cNvGrpSpPr/>
          <p:nvPr/>
        </p:nvGrpSpPr>
        <p:grpSpPr>
          <a:xfrm>
            <a:off x="895035" y="2749609"/>
            <a:ext cx="420687" cy="626325"/>
            <a:chOff x="817563" y="2695907"/>
            <a:chExt cx="496888" cy="739774"/>
          </a:xfrm>
          <a:solidFill>
            <a:schemeClr val="accent1"/>
          </a:solidFill>
        </p:grpSpPr>
        <p:sp>
          <p:nvSpPr>
            <p:cNvPr id="19" name="Freeform 35"/>
            <p:cNvSpPr>
              <a:spLocks/>
            </p:cNvSpPr>
            <p:nvPr/>
          </p:nvSpPr>
          <p:spPr bwMode="auto">
            <a:xfrm>
              <a:off x="817563" y="2695907"/>
              <a:ext cx="496888" cy="739774"/>
            </a:xfrm>
            <a:custGeom>
              <a:avLst/>
              <a:gdLst>
                <a:gd name="T0" fmla="*/ 232 w 243"/>
                <a:gd name="T1" fmla="*/ 2 h 361"/>
                <a:gd name="T2" fmla="*/ 216 w 243"/>
                <a:gd name="T3" fmla="*/ 9 h 361"/>
                <a:gd name="T4" fmla="*/ 158 w 243"/>
                <a:gd name="T5" fmla="*/ 121 h 361"/>
                <a:gd name="T6" fmla="*/ 85 w 243"/>
                <a:gd name="T7" fmla="*/ 121 h 361"/>
                <a:gd name="T8" fmla="*/ 28 w 243"/>
                <a:gd name="T9" fmla="*/ 9 h 361"/>
                <a:gd name="T10" fmla="*/ 11 w 243"/>
                <a:gd name="T11" fmla="*/ 2 h 361"/>
                <a:gd name="T12" fmla="*/ 2 w 243"/>
                <a:gd name="T13" fmla="*/ 20 h 361"/>
                <a:gd name="T14" fmla="*/ 61 w 243"/>
                <a:gd name="T15" fmla="*/ 165 h 361"/>
                <a:gd name="T16" fmla="*/ 90 w 243"/>
                <a:gd name="T17" fmla="*/ 349 h 361"/>
                <a:gd name="T18" fmla="*/ 99 w 243"/>
                <a:gd name="T19" fmla="*/ 361 h 361"/>
                <a:gd name="T20" fmla="*/ 144 w 243"/>
                <a:gd name="T21" fmla="*/ 361 h 361"/>
                <a:gd name="T22" fmla="*/ 154 w 243"/>
                <a:gd name="T23" fmla="*/ 349 h 361"/>
                <a:gd name="T24" fmla="*/ 182 w 243"/>
                <a:gd name="T25" fmla="*/ 165 h 361"/>
                <a:gd name="T26" fmla="*/ 241 w 243"/>
                <a:gd name="T27" fmla="*/ 20 h 361"/>
                <a:gd name="T28" fmla="*/ 232 w 243"/>
                <a:gd name="T29" fmla="*/ 2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3" h="361">
                  <a:moveTo>
                    <a:pt x="232" y="2"/>
                  </a:moveTo>
                  <a:cubicBezTo>
                    <a:pt x="226" y="0"/>
                    <a:pt x="219" y="3"/>
                    <a:pt x="216" y="9"/>
                  </a:cubicBezTo>
                  <a:cubicBezTo>
                    <a:pt x="215" y="10"/>
                    <a:pt x="158" y="121"/>
                    <a:pt x="158" y="121"/>
                  </a:cubicBezTo>
                  <a:cubicBezTo>
                    <a:pt x="85" y="121"/>
                    <a:pt x="85" y="121"/>
                    <a:pt x="85" y="121"/>
                  </a:cubicBezTo>
                  <a:cubicBezTo>
                    <a:pt x="85" y="121"/>
                    <a:pt x="28" y="10"/>
                    <a:pt x="28" y="9"/>
                  </a:cubicBezTo>
                  <a:cubicBezTo>
                    <a:pt x="25" y="3"/>
                    <a:pt x="18" y="0"/>
                    <a:pt x="11" y="2"/>
                  </a:cubicBezTo>
                  <a:cubicBezTo>
                    <a:pt x="4" y="5"/>
                    <a:pt x="0" y="13"/>
                    <a:pt x="2" y="20"/>
                  </a:cubicBezTo>
                  <a:cubicBezTo>
                    <a:pt x="2" y="20"/>
                    <a:pt x="41" y="112"/>
                    <a:pt x="61" y="165"/>
                  </a:cubicBezTo>
                  <a:cubicBezTo>
                    <a:pt x="65" y="193"/>
                    <a:pt x="76" y="305"/>
                    <a:pt x="90" y="349"/>
                  </a:cubicBezTo>
                  <a:cubicBezTo>
                    <a:pt x="93" y="359"/>
                    <a:pt x="94" y="361"/>
                    <a:pt x="99" y="361"/>
                  </a:cubicBezTo>
                  <a:cubicBezTo>
                    <a:pt x="144" y="361"/>
                    <a:pt x="144" y="361"/>
                    <a:pt x="144" y="361"/>
                  </a:cubicBezTo>
                  <a:cubicBezTo>
                    <a:pt x="149" y="361"/>
                    <a:pt x="150" y="359"/>
                    <a:pt x="154" y="349"/>
                  </a:cubicBezTo>
                  <a:cubicBezTo>
                    <a:pt x="168" y="305"/>
                    <a:pt x="179" y="193"/>
                    <a:pt x="182" y="165"/>
                  </a:cubicBezTo>
                  <a:cubicBezTo>
                    <a:pt x="203" y="112"/>
                    <a:pt x="241" y="20"/>
                    <a:pt x="241" y="20"/>
                  </a:cubicBezTo>
                  <a:cubicBezTo>
                    <a:pt x="243" y="13"/>
                    <a:pt x="239" y="5"/>
                    <a:pt x="23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36"/>
            <p:cNvSpPr>
              <a:spLocks noChangeArrowheads="1"/>
            </p:cNvSpPr>
            <p:nvPr/>
          </p:nvSpPr>
          <p:spPr bwMode="auto">
            <a:xfrm>
              <a:off x="965200" y="2710194"/>
              <a:ext cx="203200" cy="2032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2" name="Freeform 51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864948" y="3939902"/>
            <a:ext cx="538700" cy="538700"/>
          </a:xfrm>
          <a:custGeom>
            <a:avLst/>
            <a:gdLst>
              <a:gd name="T0" fmla="*/ 1040 w 2080"/>
              <a:gd name="T1" fmla="*/ 0 h 2080"/>
              <a:gd name="T2" fmla="*/ 2080 w 2080"/>
              <a:gd name="T3" fmla="*/ 1040 h 2080"/>
              <a:gd name="T4" fmla="*/ 1040 w 2080"/>
              <a:gd name="T5" fmla="*/ 2080 h 2080"/>
              <a:gd name="T6" fmla="*/ 0 w 2080"/>
              <a:gd name="T7" fmla="*/ 1040 h 2080"/>
              <a:gd name="T8" fmla="*/ 1040 w 2080"/>
              <a:gd name="T9" fmla="*/ 0 h 2080"/>
              <a:gd name="T10" fmla="*/ 720 w 2080"/>
              <a:gd name="T11" fmla="*/ 640 h 2080"/>
              <a:gd name="T12" fmla="*/ 560 w 2080"/>
              <a:gd name="T13" fmla="*/ 800 h 2080"/>
              <a:gd name="T14" fmla="*/ 720 w 2080"/>
              <a:gd name="T15" fmla="*/ 960 h 2080"/>
              <a:gd name="T16" fmla="*/ 880 w 2080"/>
              <a:gd name="T17" fmla="*/ 800 h 2080"/>
              <a:gd name="T18" fmla="*/ 720 w 2080"/>
              <a:gd name="T19" fmla="*/ 640 h 2080"/>
              <a:gd name="T20" fmla="*/ 1360 w 2080"/>
              <a:gd name="T21" fmla="*/ 640 h 2080"/>
              <a:gd name="T22" fmla="*/ 1200 w 2080"/>
              <a:gd name="T23" fmla="*/ 800 h 2080"/>
              <a:gd name="T24" fmla="*/ 1360 w 2080"/>
              <a:gd name="T25" fmla="*/ 960 h 2080"/>
              <a:gd name="T26" fmla="*/ 1520 w 2080"/>
              <a:gd name="T27" fmla="*/ 800 h 2080"/>
              <a:gd name="T28" fmla="*/ 1360 w 2080"/>
              <a:gd name="T29" fmla="*/ 640 h 2080"/>
              <a:gd name="T30" fmla="*/ 1600 w 2080"/>
              <a:gd name="T31" fmla="*/ 1200 h 2080"/>
              <a:gd name="T32" fmla="*/ 480 w 2080"/>
              <a:gd name="T33" fmla="*/ 1200 h 2080"/>
              <a:gd name="T34" fmla="*/ 480 w 2080"/>
              <a:gd name="T35" fmla="*/ 1440 h 2080"/>
              <a:gd name="T36" fmla="*/ 638 w 2080"/>
              <a:gd name="T37" fmla="*/ 1728 h 2080"/>
              <a:gd name="T38" fmla="*/ 1000 w 2080"/>
              <a:gd name="T39" fmla="*/ 1840 h 2080"/>
              <a:gd name="T40" fmla="*/ 1080 w 2080"/>
              <a:gd name="T41" fmla="*/ 1840 h 2080"/>
              <a:gd name="T42" fmla="*/ 1442 w 2080"/>
              <a:gd name="T43" fmla="*/ 1728 h 2080"/>
              <a:gd name="T44" fmla="*/ 1600 w 2080"/>
              <a:gd name="T45" fmla="*/ 1440 h 2080"/>
              <a:gd name="T46" fmla="*/ 1600 w 2080"/>
              <a:gd name="T47" fmla="*/ 120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080" h="2080">
                <a:moveTo>
                  <a:pt x="1040" y="0"/>
                </a:moveTo>
                <a:cubicBezTo>
                  <a:pt x="1614" y="0"/>
                  <a:pt x="2080" y="466"/>
                  <a:pt x="2080" y="1040"/>
                </a:cubicBezTo>
                <a:cubicBezTo>
                  <a:pt x="2080" y="1614"/>
                  <a:pt x="1614" y="2080"/>
                  <a:pt x="1040" y="2080"/>
                </a:cubicBezTo>
                <a:cubicBezTo>
                  <a:pt x="466" y="2080"/>
                  <a:pt x="0" y="1614"/>
                  <a:pt x="0" y="1040"/>
                </a:cubicBezTo>
                <a:cubicBezTo>
                  <a:pt x="0" y="466"/>
                  <a:pt x="466" y="0"/>
                  <a:pt x="1040" y="0"/>
                </a:cubicBezTo>
                <a:close/>
                <a:moveTo>
                  <a:pt x="720" y="640"/>
                </a:moveTo>
                <a:cubicBezTo>
                  <a:pt x="632" y="640"/>
                  <a:pt x="560" y="712"/>
                  <a:pt x="560" y="800"/>
                </a:cubicBezTo>
                <a:cubicBezTo>
                  <a:pt x="560" y="888"/>
                  <a:pt x="632" y="960"/>
                  <a:pt x="720" y="960"/>
                </a:cubicBezTo>
                <a:cubicBezTo>
                  <a:pt x="808" y="960"/>
                  <a:pt x="880" y="888"/>
                  <a:pt x="880" y="800"/>
                </a:cubicBezTo>
                <a:cubicBezTo>
                  <a:pt x="880" y="712"/>
                  <a:pt x="808" y="640"/>
                  <a:pt x="720" y="640"/>
                </a:cubicBezTo>
                <a:close/>
                <a:moveTo>
                  <a:pt x="1360" y="640"/>
                </a:moveTo>
                <a:cubicBezTo>
                  <a:pt x="1272" y="640"/>
                  <a:pt x="1200" y="712"/>
                  <a:pt x="1200" y="800"/>
                </a:cubicBezTo>
                <a:cubicBezTo>
                  <a:pt x="1200" y="888"/>
                  <a:pt x="1272" y="960"/>
                  <a:pt x="1360" y="960"/>
                </a:cubicBezTo>
                <a:cubicBezTo>
                  <a:pt x="1448" y="960"/>
                  <a:pt x="1520" y="888"/>
                  <a:pt x="1520" y="800"/>
                </a:cubicBezTo>
                <a:cubicBezTo>
                  <a:pt x="1520" y="712"/>
                  <a:pt x="1448" y="640"/>
                  <a:pt x="1360" y="640"/>
                </a:cubicBezTo>
                <a:close/>
                <a:moveTo>
                  <a:pt x="1600" y="1200"/>
                </a:moveTo>
                <a:cubicBezTo>
                  <a:pt x="480" y="1200"/>
                  <a:pt x="480" y="1200"/>
                  <a:pt x="480" y="1200"/>
                </a:cubicBezTo>
                <a:cubicBezTo>
                  <a:pt x="480" y="1440"/>
                  <a:pt x="480" y="1440"/>
                  <a:pt x="480" y="1440"/>
                </a:cubicBezTo>
                <a:cubicBezTo>
                  <a:pt x="480" y="1550"/>
                  <a:pt x="539" y="1654"/>
                  <a:pt x="638" y="1728"/>
                </a:cubicBezTo>
                <a:cubicBezTo>
                  <a:pt x="729" y="1796"/>
                  <a:pt x="855" y="1840"/>
                  <a:pt x="1000" y="1840"/>
                </a:cubicBezTo>
                <a:cubicBezTo>
                  <a:pt x="1080" y="1840"/>
                  <a:pt x="1080" y="1840"/>
                  <a:pt x="1080" y="1840"/>
                </a:cubicBezTo>
                <a:cubicBezTo>
                  <a:pt x="1225" y="1840"/>
                  <a:pt x="1351" y="1796"/>
                  <a:pt x="1442" y="1728"/>
                </a:cubicBezTo>
                <a:cubicBezTo>
                  <a:pt x="1541" y="1654"/>
                  <a:pt x="1600" y="1550"/>
                  <a:pt x="1600" y="1440"/>
                </a:cubicBezTo>
                <a:lnTo>
                  <a:pt x="1600" y="12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92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265"/>
          <p:cNvSpPr/>
          <p:nvPr/>
        </p:nvSpPr>
        <p:spPr bwMode="gray">
          <a:xfrm>
            <a:off x="323850" y="1635646"/>
            <a:ext cx="8568630" cy="1079376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5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</a:t>
            </a:r>
            <a:r>
              <a:rPr lang="es-MX" sz="1000" dirty="0">
                <a:solidFill>
                  <a:schemeClr val="bg2"/>
                </a:solidFill>
              </a:rPr>
              <a:t>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2" name="1 CuadroTexto"/>
          <p:cNvSpPr txBox="1"/>
          <p:nvPr/>
        </p:nvSpPr>
        <p:spPr bwMode="gray">
          <a:xfrm>
            <a:off x="395536" y="1645445"/>
            <a:ext cx="1728192" cy="34949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400" dirty="0" err="1" smtClean="0">
                <a:solidFill>
                  <a:schemeClr val="bg2"/>
                </a:solidFill>
                <a:latin typeface="Arial"/>
              </a:rPr>
              <a:t>Tranquilo</a:t>
            </a:r>
            <a:endParaRPr lang="es-CL" sz="1400" dirty="0" smtClean="0">
              <a:solidFill>
                <a:schemeClr val="bg2"/>
              </a:solidFill>
              <a:latin typeface="Arial"/>
            </a:endParaRPr>
          </a:p>
        </p:txBody>
      </p:sp>
      <p:sp>
        <p:nvSpPr>
          <p:cNvPr id="18" name="Rechteck 265"/>
          <p:cNvSpPr/>
          <p:nvPr/>
        </p:nvSpPr>
        <p:spPr bwMode="gray">
          <a:xfrm>
            <a:off x="323528" y="3075806"/>
            <a:ext cx="8568630" cy="1079376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20" name="19 CuadroTexto"/>
          <p:cNvSpPr txBox="1"/>
          <p:nvPr/>
        </p:nvSpPr>
        <p:spPr bwMode="gray">
          <a:xfrm>
            <a:off x="323528" y="3085605"/>
            <a:ext cx="1728514" cy="34949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400" dirty="0" smtClean="0">
                <a:solidFill>
                  <a:schemeClr val="bg2"/>
                </a:solidFill>
                <a:latin typeface="Arial"/>
              </a:rPr>
              <a:t>Alegre</a:t>
            </a:r>
            <a:endParaRPr lang="es-CL" sz="1400" dirty="0" smtClean="0">
              <a:solidFill>
                <a:schemeClr val="bg2"/>
              </a:solidFill>
              <a:latin typeface="Arial"/>
            </a:endParaRPr>
          </a:p>
        </p:txBody>
      </p:sp>
      <p:graphicFrame>
        <p:nvGraphicFramePr>
          <p:cNvPr id="26" name="25 Gráfico"/>
          <p:cNvGraphicFramePr/>
          <p:nvPr>
            <p:extLst>
              <p:ext uri="{D42A27DB-BD31-4B8C-83A1-F6EECF244321}">
                <p14:modId xmlns:p14="http://schemas.microsoft.com/office/powerpoint/2010/main" val="4239979438"/>
              </p:ext>
            </p:extLst>
          </p:nvPr>
        </p:nvGraphicFramePr>
        <p:xfrm>
          <a:off x="2771800" y="1635646"/>
          <a:ext cx="6120680" cy="1079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7" name="26 Gráfico"/>
          <p:cNvGraphicFramePr/>
          <p:nvPr>
            <p:extLst>
              <p:ext uri="{D42A27DB-BD31-4B8C-83A1-F6EECF244321}">
                <p14:modId xmlns:p14="http://schemas.microsoft.com/office/powerpoint/2010/main" val="2903057005"/>
              </p:ext>
            </p:extLst>
          </p:nvPr>
        </p:nvGraphicFramePr>
        <p:xfrm>
          <a:off x="2752825" y="3075806"/>
          <a:ext cx="6120680" cy="1079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Freeform 12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919099" y="3415403"/>
            <a:ext cx="537371" cy="537737"/>
          </a:xfrm>
          <a:custGeom>
            <a:avLst/>
            <a:gdLst>
              <a:gd name="T0" fmla="*/ 748 w 1495"/>
              <a:gd name="T1" fmla="*/ 0 h 1495"/>
              <a:gd name="T2" fmla="*/ 0 w 1495"/>
              <a:gd name="T3" fmla="*/ 748 h 1495"/>
              <a:gd name="T4" fmla="*/ 748 w 1495"/>
              <a:gd name="T5" fmla="*/ 1495 h 1495"/>
              <a:gd name="T6" fmla="*/ 1495 w 1495"/>
              <a:gd name="T7" fmla="*/ 748 h 1495"/>
              <a:gd name="T8" fmla="*/ 748 w 1495"/>
              <a:gd name="T9" fmla="*/ 0 h 1495"/>
              <a:gd name="T10" fmla="*/ 362 w 1495"/>
              <a:gd name="T11" fmla="*/ 576 h 1495"/>
              <a:gd name="T12" fmla="*/ 362 w 1495"/>
              <a:gd name="T13" fmla="*/ 576 h 1495"/>
              <a:gd name="T14" fmla="*/ 399 w 1495"/>
              <a:gd name="T15" fmla="*/ 536 h 1495"/>
              <a:gd name="T16" fmla="*/ 556 w 1495"/>
              <a:gd name="T17" fmla="*/ 535 h 1495"/>
              <a:gd name="T18" fmla="*/ 599 w 1495"/>
              <a:gd name="T19" fmla="*/ 570 h 1495"/>
              <a:gd name="T20" fmla="*/ 561 w 1495"/>
              <a:gd name="T21" fmla="*/ 610 h 1495"/>
              <a:gd name="T22" fmla="*/ 404 w 1495"/>
              <a:gd name="T23" fmla="*/ 612 h 1495"/>
              <a:gd name="T24" fmla="*/ 362 w 1495"/>
              <a:gd name="T25" fmla="*/ 576 h 1495"/>
              <a:gd name="T26" fmla="*/ 1099 w 1495"/>
              <a:gd name="T27" fmla="*/ 888 h 1495"/>
              <a:gd name="T28" fmla="*/ 1099 w 1495"/>
              <a:gd name="T29" fmla="*/ 888 h 1495"/>
              <a:gd name="T30" fmla="*/ 751 w 1495"/>
              <a:gd name="T31" fmla="*/ 1235 h 1495"/>
              <a:gd name="T32" fmla="*/ 403 w 1495"/>
              <a:gd name="T33" fmla="*/ 888 h 1495"/>
              <a:gd name="T34" fmla="*/ 403 w 1495"/>
              <a:gd name="T35" fmla="*/ 888 h 1495"/>
              <a:gd name="T36" fmla="*/ 403 w 1495"/>
              <a:gd name="T37" fmla="*/ 884 h 1495"/>
              <a:gd name="T38" fmla="*/ 442 w 1495"/>
              <a:gd name="T39" fmla="*/ 845 h 1495"/>
              <a:gd name="T40" fmla="*/ 480 w 1495"/>
              <a:gd name="T41" fmla="*/ 884 h 1495"/>
              <a:gd name="T42" fmla="*/ 480 w 1495"/>
              <a:gd name="T43" fmla="*/ 888 h 1495"/>
              <a:gd name="T44" fmla="*/ 480 w 1495"/>
              <a:gd name="T45" fmla="*/ 888 h 1495"/>
              <a:gd name="T46" fmla="*/ 751 w 1495"/>
              <a:gd name="T47" fmla="*/ 1158 h 1495"/>
              <a:gd name="T48" fmla="*/ 1022 w 1495"/>
              <a:gd name="T49" fmla="*/ 888 h 1495"/>
              <a:gd name="T50" fmla="*/ 1022 w 1495"/>
              <a:gd name="T51" fmla="*/ 888 h 1495"/>
              <a:gd name="T52" fmla="*/ 1022 w 1495"/>
              <a:gd name="T53" fmla="*/ 884 h 1495"/>
              <a:gd name="T54" fmla="*/ 1060 w 1495"/>
              <a:gd name="T55" fmla="*/ 845 h 1495"/>
              <a:gd name="T56" fmla="*/ 1099 w 1495"/>
              <a:gd name="T57" fmla="*/ 884 h 1495"/>
              <a:gd name="T58" fmla="*/ 1098 w 1495"/>
              <a:gd name="T59" fmla="*/ 888 h 1495"/>
              <a:gd name="T60" fmla="*/ 1099 w 1495"/>
              <a:gd name="T61" fmla="*/ 888 h 1495"/>
              <a:gd name="T62" fmla="*/ 1096 w 1495"/>
              <a:gd name="T63" fmla="*/ 610 h 1495"/>
              <a:gd name="T64" fmla="*/ 1096 w 1495"/>
              <a:gd name="T65" fmla="*/ 610 h 1495"/>
              <a:gd name="T66" fmla="*/ 939 w 1495"/>
              <a:gd name="T67" fmla="*/ 612 h 1495"/>
              <a:gd name="T68" fmla="*/ 897 w 1495"/>
              <a:gd name="T69" fmla="*/ 576 h 1495"/>
              <a:gd name="T70" fmla="*/ 934 w 1495"/>
              <a:gd name="T71" fmla="*/ 536 h 1495"/>
              <a:gd name="T72" fmla="*/ 1091 w 1495"/>
              <a:gd name="T73" fmla="*/ 535 h 1495"/>
              <a:gd name="T74" fmla="*/ 1134 w 1495"/>
              <a:gd name="T75" fmla="*/ 570 h 1495"/>
              <a:gd name="T76" fmla="*/ 1096 w 1495"/>
              <a:gd name="T77" fmla="*/ 610 h 1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95" h="1495">
                <a:moveTo>
                  <a:pt x="748" y="0"/>
                </a:moveTo>
                <a:cubicBezTo>
                  <a:pt x="335" y="0"/>
                  <a:pt x="0" y="335"/>
                  <a:pt x="0" y="748"/>
                </a:cubicBezTo>
                <a:cubicBezTo>
                  <a:pt x="0" y="1161"/>
                  <a:pt x="335" y="1495"/>
                  <a:pt x="748" y="1495"/>
                </a:cubicBezTo>
                <a:cubicBezTo>
                  <a:pt x="1161" y="1495"/>
                  <a:pt x="1495" y="1161"/>
                  <a:pt x="1495" y="748"/>
                </a:cubicBezTo>
                <a:cubicBezTo>
                  <a:pt x="1495" y="335"/>
                  <a:pt x="1161" y="0"/>
                  <a:pt x="748" y="0"/>
                </a:cubicBezTo>
                <a:close/>
                <a:moveTo>
                  <a:pt x="362" y="576"/>
                </a:moveTo>
                <a:lnTo>
                  <a:pt x="362" y="576"/>
                </a:lnTo>
                <a:cubicBezTo>
                  <a:pt x="360" y="555"/>
                  <a:pt x="377" y="537"/>
                  <a:pt x="399" y="536"/>
                </a:cubicBezTo>
                <a:lnTo>
                  <a:pt x="556" y="535"/>
                </a:lnTo>
                <a:cubicBezTo>
                  <a:pt x="579" y="533"/>
                  <a:pt x="597" y="549"/>
                  <a:pt x="599" y="570"/>
                </a:cubicBezTo>
                <a:cubicBezTo>
                  <a:pt x="600" y="591"/>
                  <a:pt x="583" y="609"/>
                  <a:pt x="561" y="610"/>
                </a:cubicBezTo>
                <a:lnTo>
                  <a:pt x="404" y="612"/>
                </a:lnTo>
                <a:cubicBezTo>
                  <a:pt x="382" y="613"/>
                  <a:pt x="363" y="597"/>
                  <a:pt x="362" y="576"/>
                </a:cubicBezTo>
                <a:close/>
                <a:moveTo>
                  <a:pt x="1099" y="888"/>
                </a:moveTo>
                <a:lnTo>
                  <a:pt x="1099" y="888"/>
                </a:lnTo>
                <a:cubicBezTo>
                  <a:pt x="1099" y="1080"/>
                  <a:pt x="943" y="1235"/>
                  <a:pt x="751" y="1235"/>
                </a:cubicBezTo>
                <a:cubicBezTo>
                  <a:pt x="559" y="1235"/>
                  <a:pt x="403" y="1080"/>
                  <a:pt x="403" y="888"/>
                </a:cubicBezTo>
                <a:lnTo>
                  <a:pt x="403" y="888"/>
                </a:lnTo>
                <a:cubicBezTo>
                  <a:pt x="403" y="886"/>
                  <a:pt x="403" y="885"/>
                  <a:pt x="403" y="884"/>
                </a:cubicBezTo>
                <a:cubicBezTo>
                  <a:pt x="403" y="862"/>
                  <a:pt x="420" y="845"/>
                  <a:pt x="442" y="845"/>
                </a:cubicBezTo>
                <a:cubicBezTo>
                  <a:pt x="463" y="845"/>
                  <a:pt x="480" y="862"/>
                  <a:pt x="480" y="884"/>
                </a:cubicBezTo>
                <a:cubicBezTo>
                  <a:pt x="480" y="885"/>
                  <a:pt x="480" y="886"/>
                  <a:pt x="480" y="888"/>
                </a:cubicBezTo>
                <a:lnTo>
                  <a:pt x="480" y="888"/>
                </a:lnTo>
                <a:cubicBezTo>
                  <a:pt x="480" y="1037"/>
                  <a:pt x="602" y="1158"/>
                  <a:pt x="751" y="1158"/>
                </a:cubicBezTo>
                <a:cubicBezTo>
                  <a:pt x="900" y="1158"/>
                  <a:pt x="1022" y="1037"/>
                  <a:pt x="1022" y="888"/>
                </a:cubicBezTo>
                <a:lnTo>
                  <a:pt x="1022" y="888"/>
                </a:lnTo>
                <a:cubicBezTo>
                  <a:pt x="1022" y="886"/>
                  <a:pt x="1022" y="885"/>
                  <a:pt x="1022" y="884"/>
                </a:cubicBezTo>
                <a:cubicBezTo>
                  <a:pt x="1022" y="862"/>
                  <a:pt x="1039" y="845"/>
                  <a:pt x="1060" y="845"/>
                </a:cubicBezTo>
                <a:cubicBezTo>
                  <a:pt x="1081" y="845"/>
                  <a:pt x="1099" y="862"/>
                  <a:pt x="1099" y="884"/>
                </a:cubicBezTo>
                <a:cubicBezTo>
                  <a:pt x="1099" y="885"/>
                  <a:pt x="1099" y="886"/>
                  <a:pt x="1098" y="888"/>
                </a:cubicBezTo>
                <a:lnTo>
                  <a:pt x="1099" y="888"/>
                </a:lnTo>
                <a:close/>
                <a:moveTo>
                  <a:pt x="1096" y="610"/>
                </a:moveTo>
                <a:lnTo>
                  <a:pt x="1096" y="610"/>
                </a:lnTo>
                <a:lnTo>
                  <a:pt x="939" y="612"/>
                </a:lnTo>
                <a:cubicBezTo>
                  <a:pt x="917" y="613"/>
                  <a:pt x="898" y="597"/>
                  <a:pt x="897" y="576"/>
                </a:cubicBezTo>
                <a:cubicBezTo>
                  <a:pt x="895" y="555"/>
                  <a:pt x="912" y="537"/>
                  <a:pt x="934" y="536"/>
                </a:cubicBezTo>
                <a:lnTo>
                  <a:pt x="1091" y="535"/>
                </a:lnTo>
                <a:cubicBezTo>
                  <a:pt x="1113" y="533"/>
                  <a:pt x="1132" y="549"/>
                  <a:pt x="1134" y="570"/>
                </a:cubicBezTo>
                <a:cubicBezTo>
                  <a:pt x="1135" y="591"/>
                  <a:pt x="1118" y="609"/>
                  <a:pt x="1096" y="61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grpSp>
        <p:nvGrpSpPr>
          <p:cNvPr id="13" name="Group 46"/>
          <p:cNvGrpSpPr>
            <a:grpSpLocks noChangeAspect="1"/>
          </p:cNvGrpSpPr>
          <p:nvPr/>
        </p:nvGrpSpPr>
        <p:grpSpPr bwMode="auto">
          <a:xfrm>
            <a:off x="971600" y="1973786"/>
            <a:ext cx="519112" cy="597964"/>
            <a:chOff x="2013" y="1437"/>
            <a:chExt cx="474" cy="546"/>
          </a:xfrm>
          <a:solidFill>
            <a:schemeClr val="accent3"/>
          </a:solidFill>
        </p:grpSpPr>
        <p:sp>
          <p:nvSpPr>
            <p:cNvPr id="14" name="Oval 47"/>
            <p:cNvSpPr>
              <a:spLocks noChangeArrowheads="1"/>
            </p:cNvSpPr>
            <p:nvPr/>
          </p:nvSpPr>
          <p:spPr bwMode="auto">
            <a:xfrm>
              <a:off x="2173" y="1437"/>
              <a:ext cx="154" cy="15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48"/>
            <p:cNvSpPr>
              <a:spLocks/>
            </p:cNvSpPr>
            <p:nvPr/>
          </p:nvSpPr>
          <p:spPr bwMode="auto">
            <a:xfrm>
              <a:off x="2013" y="1614"/>
              <a:ext cx="474" cy="369"/>
            </a:xfrm>
            <a:custGeom>
              <a:avLst/>
              <a:gdLst>
                <a:gd name="T0" fmla="*/ 450 w 459"/>
                <a:gd name="T1" fmla="*/ 198 h 357"/>
                <a:gd name="T2" fmla="*/ 450 w 459"/>
                <a:gd name="T3" fmla="*/ 198 h 357"/>
                <a:gd name="T4" fmla="*/ 385 w 459"/>
                <a:gd name="T5" fmla="*/ 128 h 357"/>
                <a:gd name="T6" fmla="*/ 342 w 459"/>
                <a:gd name="T7" fmla="*/ 20 h 357"/>
                <a:gd name="T8" fmla="*/ 310 w 459"/>
                <a:gd name="T9" fmla="*/ 0 h 357"/>
                <a:gd name="T10" fmla="*/ 148 w 459"/>
                <a:gd name="T11" fmla="*/ 0 h 357"/>
                <a:gd name="T12" fmla="*/ 115 w 459"/>
                <a:gd name="T13" fmla="*/ 23 h 357"/>
                <a:gd name="T14" fmla="*/ 75 w 459"/>
                <a:gd name="T15" fmla="*/ 126 h 357"/>
                <a:gd name="T16" fmla="*/ 9 w 459"/>
                <a:gd name="T17" fmla="*/ 198 h 357"/>
                <a:gd name="T18" fmla="*/ 8 w 459"/>
                <a:gd name="T19" fmla="*/ 231 h 357"/>
                <a:gd name="T20" fmla="*/ 42 w 459"/>
                <a:gd name="T21" fmla="*/ 234 h 357"/>
                <a:gd name="T22" fmla="*/ 124 w 459"/>
                <a:gd name="T23" fmla="*/ 160 h 357"/>
                <a:gd name="T24" fmla="*/ 148 w 459"/>
                <a:gd name="T25" fmla="*/ 116 h 357"/>
                <a:gd name="T26" fmla="*/ 137 w 459"/>
                <a:gd name="T27" fmla="*/ 207 h 357"/>
                <a:gd name="T28" fmla="*/ 35 w 459"/>
                <a:gd name="T29" fmla="*/ 301 h 357"/>
                <a:gd name="T30" fmla="*/ 92 w 459"/>
                <a:gd name="T31" fmla="*/ 357 h 357"/>
                <a:gd name="T32" fmla="*/ 141 w 459"/>
                <a:gd name="T33" fmla="*/ 357 h 357"/>
                <a:gd name="T34" fmla="*/ 131 w 459"/>
                <a:gd name="T35" fmla="*/ 318 h 357"/>
                <a:gd name="T36" fmla="*/ 154 w 459"/>
                <a:gd name="T37" fmla="*/ 276 h 357"/>
                <a:gd name="T38" fmla="*/ 304 w 459"/>
                <a:gd name="T39" fmla="*/ 249 h 357"/>
                <a:gd name="T40" fmla="*/ 312 w 459"/>
                <a:gd name="T41" fmla="*/ 256 h 357"/>
                <a:gd name="T42" fmla="*/ 306 w 459"/>
                <a:gd name="T43" fmla="*/ 264 h 357"/>
                <a:gd name="T44" fmla="*/ 306 w 459"/>
                <a:gd name="T45" fmla="*/ 264 h 357"/>
                <a:gd name="T46" fmla="*/ 201 w 459"/>
                <a:gd name="T47" fmla="*/ 284 h 357"/>
                <a:gd name="T48" fmla="*/ 165 w 459"/>
                <a:gd name="T49" fmla="*/ 320 h 357"/>
                <a:gd name="T50" fmla="*/ 211 w 459"/>
                <a:gd name="T51" fmla="*/ 357 h 357"/>
                <a:gd name="T52" fmla="*/ 367 w 459"/>
                <a:gd name="T53" fmla="*/ 357 h 357"/>
                <a:gd name="T54" fmla="*/ 423 w 459"/>
                <a:gd name="T55" fmla="*/ 301 h 357"/>
                <a:gd name="T56" fmla="*/ 322 w 459"/>
                <a:gd name="T57" fmla="*/ 207 h 357"/>
                <a:gd name="T58" fmla="*/ 310 w 459"/>
                <a:gd name="T59" fmla="*/ 116 h 357"/>
                <a:gd name="T60" fmla="*/ 335 w 459"/>
                <a:gd name="T61" fmla="*/ 160 h 357"/>
                <a:gd name="T62" fmla="*/ 417 w 459"/>
                <a:gd name="T63" fmla="*/ 234 h 357"/>
                <a:gd name="T64" fmla="*/ 450 w 459"/>
                <a:gd name="T65" fmla="*/ 233 h 357"/>
                <a:gd name="T66" fmla="*/ 450 w 459"/>
                <a:gd name="T67" fmla="*/ 198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9" h="357">
                  <a:moveTo>
                    <a:pt x="450" y="198"/>
                  </a:moveTo>
                  <a:cubicBezTo>
                    <a:pt x="450" y="198"/>
                    <a:pt x="450" y="198"/>
                    <a:pt x="450" y="198"/>
                  </a:cubicBezTo>
                  <a:cubicBezTo>
                    <a:pt x="437" y="185"/>
                    <a:pt x="385" y="128"/>
                    <a:pt x="385" y="128"/>
                  </a:cubicBezTo>
                  <a:cubicBezTo>
                    <a:pt x="381" y="123"/>
                    <a:pt x="344" y="24"/>
                    <a:pt x="342" y="20"/>
                  </a:cubicBezTo>
                  <a:cubicBezTo>
                    <a:pt x="341" y="19"/>
                    <a:pt x="333" y="0"/>
                    <a:pt x="310" y="0"/>
                  </a:cubicBezTo>
                  <a:cubicBezTo>
                    <a:pt x="310" y="0"/>
                    <a:pt x="148" y="0"/>
                    <a:pt x="148" y="0"/>
                  </a:cubicBezTo>
                  <a:cubicBezTo>
                    <a:pt x="134" y="0"/>
                    <a:pt x="120" y="9"/>
                    <a:pt x="115" y="23"/>
                  </a:cubicBezTo>
                  <a:cubicBezTo>
                    <a:pt x="75" y="126"/>
                    <a:pt x="75" y="126"/>
                    <a:pt x="75" y="126"/>
                  </a:cubicBezTo>
                  <a:cubicBezTo>
                    <a:pt x="9" y="198"/>
                    <a:pt x="9" y="198"/>
                    <a:pt x="9" y="198"/>
                  </a:cubicBezTo>
                  <a:cubicBezTo>
                    <a:pt x="0" y="207"/>
                    <a:pt x="0" y="221"/>
                    <a:pt x="8" y="231"/>
                  </a:cubicBezTo>
                  <a:cubicBezTo>
                    <a:pt x="16" y="241"/>
                    <a:pt x="32" y="243"/>
                    <a:pt x="42" y="234"/>
                  </a:cubicBezTo>
                  <a:cubicBezTo>
                    <a:pt x="67" y="214"/>
                    <a:pt x="111" y="178"/>
                    <a:pt x="124" y="160"/>
                  </a:cubicBezTo>
                  <a:cubicBezTo>
                    <a:pt x="124" y="160"/>
                    <a:pt x="147" y="119"/>
                    <a:pt x="148" y="116"/>
                  </a:cubicBezTo>
                  <a:cubicBezTo>
                    <a:pt x="156" y="159"/>
                    <a:pt x="146" y="193"/>
                    <a:pt x="137" y="207"/>
                  </a:cubicBezTo>
                  <a:cubicBezTo>
                    <a:pt x="125" y="227"/>
                    <a:pt x="44" y="253"/>
                    <a:pt x="35" y="301"/>
                  </a:cubicBezTo>
                  <a:cubicBezTo>
                    <a:pt x="32" y="319"/>
                    <a:pt x="43" y="357"/>
                    <a:pt x="92" y="357"/>
                  </a:cubicBezTo>
                  <a:cubicBezTo>
                    <a:pt x="141" y="357"/>
                    <a:pt x="141" y="357"/>
                    <a:pt x="141" y="357"/>
                  </a:cubicBezTo>
                  <a:cubicBezTo>
                    <a:pt x="135" y="348"/>
                    <a:pt x="130" y="334"/>
                    <a:pt x="131" y="318"/>
                  </a:cubicBezTo>
                  <a:cubicBezTo>
                    <a:pt x="132" y="304"/>
                    <a:pt x="138" y="289"/>
                    <a:pt x="154" y="276"/>
                  </a:cubicBezTo>
                  <a:cubicBezTo>
                    <a:pt x="186" y="249"/>
                    <a:pt x="242" y="251"/>
                    <a:pt x="304" y="249"/>
                  </a:cubicBezTo>
                  <a:cubicBezTo>
                    <a:pt x="309" y="249"/>
                    <a:pt x="312" y="252"/>
                    <a:pt x="312" y="256"/>
                  </a:cubicBezTo>
                  <a:cubicBezTo>
                    <a:pt x="313" y="260"/>
                    <a:pt x="310" y="264"/>
                    <a:pt x="306" y="264"/>
                  </a:cubicBezTo>
                  <a:cubicBezTo>
                    <a:pt x="306" y="264"/>
                    <a:pt x="306" y="264"/>
                    <a:pt x="306" y="264"/>
                  </a:cubicBezTo>
                  <a:cubicBezTo>
                    <a:pt x="281" y="268"/>
                    <a:pt x="217" y="278"/>
                    <a:pt x="201" y="284"/>
                  </a:cubicBezTo>
                  <a:cubicBezTo>
                    <a:pt x="179" y="292"/>
                    <a:pt x="166" y="304"/>
                    <a:pt x="165" y="320"/>
                  </a:cubicBezTo>
                  <a:cubicBezTo>
                    <a:pt x="164" y="339"/>
                    <a:pt x="183" y="354"/>
                    <a:pt x="211" y="357"/>
                  </a:cubicBezTo>
                  <a:cubicBezTo>
                    <a:pt x="367" y="357"/>
                    <a:pt x="367" y="357"/>
                    <a:pt x="367" y="357"/>
                  </a:cubicBezTo>
                  <a:cubicBezTo>
                    <a:pt x="415" y="357"/>
                    <a:pt x="427" y="319"/>
                    <a:pt x="423" y="301"/>
                  </a:cubicBezTo>
                  <a:cubicBezTo>
                    <a:pt x="415" y="253"/>
                    <a:pt x="334" y="227"/>
                    <a:pt x="322" y="207"/>
                  </a:cubicBezTo>
                  <a:cubicBezTo>
                    <a:pt x="313" y="193"/>
                    <a:pt x="303" y="159"/>
                    <a:pt x="310" y="116"/>
                  </a:cubicBezTo>
                  <a:cubicBezTo>
                    <a:pt x="318" y="132"/>
                    <a:pt x="326" y="146"/>
                    <a:pt x="335" y="160"/>
                  </a:cubicBezTo>
                  <a:cubicBezTo>
                    <a:pt x="348" y="178"/>
                    <a:pt x="395" y="216"/>
                    <a:pt x="417" y="234"/>
                  </a:cubicBezTo>
                  <a:cubicBezTo>
                    <a:pt x="426" y="242"/>
                    <a:pt x="441" y="242"/>
                    <a:pt x="450" y="233"/>
                  </a:cubicBezTo>
                  <a:cubicBezTo>
                    <a:pt x="459" y="223"/>
                    <a:pt x="459" y="207"/>
                    <a:pt x="45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9" name="2 Título"/>
          <p:cNvSpPr>
            <a:spLocks noGrp="1"/>
          </p:cNvSpPr>
          <p:nvPr>
            <p:ph type="title"/>
          </p:nvPr>
        </p:nvSpPr>
        <p:spPr>
          <a:xfrm>
            <a:off x="323851" y="411510"/>
            <a:ext cx="6696421" cy="576105"/>
          </a:xfrm>
        </p:spPr>
        <p:txBody>
          <a:bodyPr/>
          <a:lstStyle/>
          <a:p>
            <a:r>
              <a:rPr lang="es-ES_tradnl" dirty="0" smtClean="0"/>
              <a:t>¿Cómo te sentirías al poder realizar este sueño?</a:t>
            </a:r>
            <a:br>
              <a:rPr lang="es-ES_tradnl" dirty="0" smtClean="0"/>
            </a:br>
            <a:r>
              <a:rPr lang="es-ES_tradnl" sz="1400" dirty="0" smtClean="0"/>
              <a:t>(respuesta múltiple)</a:t>
            </a:r>
            <a:endParaRPr lang="es-CL" sz="1100" dirty="0"/>
          </a:p>
        </p:txBody>
      </p:sp>
    </p:spTree>
    <p:extLst>
      <p:ext uri="{BB962C8B-B14F-4D97-AF65-F5344CB8AC3E}">
        <p14:creationId xmlns:p14="http://schemas.microsoft.com/office/powerpoint/2010/main" val="2128698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323851" y="483477"/>
            <a:ext cx="6696421" cy="576105"/>
          </a:xfrm>
        </p:spPr>
        <p:txBody>
          <a:bodyPr/>
          <a:lstStyle/>
          <a:p>
            <a:r>
              <a:rPr lang="es-ES_tradnl" dirty="0" smtClean="0"/>
              <a:t>Si usted ganara 25 millones de pesos, ¿Qué haría con ese dinero? </a:t>
            </a:r>
            <a:r>
              <a:rPr lang="es-ES_tradnl" sz="1400" dirty="0" smtClean="0"/>
              <a:t>(respuesta múltiple)</a:t>
            </a:r>
            <a:endParaRPr lang="es-CL" sz="1400" dirty="0"/>
          </a:p>
        </p:txBody>
      </p:sp>
      <p:sp>
        <p:nvSpPr>
          <p:cNvPr id="5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</a:t>
            </a:r>
            <a:r>
              <a:rPr lang="es-MX" sz="1000" dirty="0">
                <a:solidFill>
                  <a:schemeClr val="bg2"/>
                </a:solidFill>
              </a:rPr>
              <a:t>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graphicFrame>
        <p:nvGraphicFramePr>
          <p:cNvPr id="4" name="3 Gráfico"/>
          <p:cNvGraphicFramePr/>
          <p:nvPr>
            <p:extLst>
              <p:ext uri="{D42A27DB-BD31-4B8C-83A1-F6EECF244321}">
                <p14:modId xmlns:p14="http://schemas.microsoft.com/office/powerpoint/2010/main" val="1769856779"/>
              </p:ext>
            </p:extLst>
          </p:nvPr>
        </p:nvGraphicFramePr>
        <p:xfrm>
          <a:off x="323528" y="1275606"/>
          <a:ext cx="7296472" cy="3328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04727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323851" y="483477"/>
            <a:ext cx="6696421" cy="576105"/>
          </a:xfrm>
        </p:spPr>
        <p:txBody>
          <a:bodyPr/>
          <a:lstStyle/>
          <a:p>
            <a:r>
              <a:rPr lang="es-ES_tradnl" dirty="0" smtClean="0"/>
              <a:t>Si usted ganara 2 millones de pesos, ¿Qué haría con ese dinero? </a:t>
            </a:r>
            <a:r>
              <a:rPr lang="es-ES_tradnl" sz="1400" dirty="0" smtClean="0"/>
              <a:t>(respuesta múltiple)</a:t>
            </a:r>
            <a:endParaRPr lang="es-CL" sz="1400" dirty="0"/>
          </a:p>
        </p:txBody>
      </p:sp>
      <p:sp>
        <p:nvSpPr>
          <p:cNvPr id="5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</a:t>
            </a:r>
            <a:r>
              <a:rPr lang="es-MX" sz="1000" dirty="0">
                <a:solidFill>
                  <a:schemeClr val="bg2"/>
                </a:solidFill>
              </a:rPr>
              <a:t>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graphicFrame>
        <p:nvGraphicFramePr>
          <p:cNvPr id="4" name="3 Gráfico"/>
          <p:cNvGraphicFramePr/>
          <p:nvPr>
            <p:extLst>
              <p:ext uri="{D42A27DB-BD31-4B8C-83A1-F6EECF244321}">
                <p14:modId xmlns:p14="http://schemas.microsoft.com/office/powerpoint/2010/main" val="1613020926"/>
              </p:ext>
            </p:extLst>
          </p:nvPr>
        </p:nvGraphicFramePr>
        <p:xfrm>
          <a:off x="323528" y="1275606"/>
          <a:ext cx="7296472" cy="3328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51699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323851" y="483477"/>
            <a:ext cx="6696421" cy="576105"/>
          </a:xfrm>
        </p:spPr>
        <p:txBody>
          <a:bodyPr/>
          <a:lstStyle/>
          <a:p>
            <a:r>
              <a:rPr lang="es-ES_tradnl" dirty="0" smtClean="0"/>
              <a:t>Si usted ganara 1 millón de pesos, ¿Qué haría con ese dinero? </a:t>
            </a:r>
            <a:r>
              <a:rPr lang="es-ES_tradnl" sz="1400" dirty="0" smtClean="0"/>
              <a:t>(respuesta múltiple)</a:t>
            </a:r>
            <a:endParaRPr lang="es-CL" sz="1400" dirty="0"/>
          </a:p>
        </p:txBody>
      </p:sp>
      <p:sp>
        <p:nvSpPr>
          <p:cNvPr id="5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</a:t>
            </a:r>
            <a:r>
              <a:rPr lang="es-MX" sz="1000" dirty="0">
                <a:solidFill>
                  <a:schemeClr val="bg2"/>
                </a:solidFill>
              </a:rPr>
              <a:t>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graphicFrame>
        <p:nvGraphicFramePr>
          <p:cNvPr id="4" name="3 Gráfico"/>
          <p:cNvGraphicFramePr/>
          <p:nvPr>
            <p:extLst>
              <p:ext uri="{D42A27DB-BD31-4B8C-83A1-F6EECF244321}">
                <p14:modId xmlns:p14="http://schemas.microsoft.com/office/powerpoint/2010/main" val="1478614973"/>
              </p:ext>
            </p:extLst>
          </p:nvPr>
        </p:nvGraphicFramePr>
        <p:xfrm>
          <a:off x="323528" y="1275606"/>
          <a:ext cx="7296472" cy="3328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18529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¡</a:t>
            </a:r>
            <a:r>
              <a:rPr lang="es-MX" dirty="0" smtClean="0"/>
              <a:t>Gracias!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3970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¿</a:t>
            </a:r>
            <a:r>
              <a:rPr lang="en-US" err="1" smtClean="0"/>
              <a:t>Qué</a:t>
            </a:r>
            <a:r>
              <a:rPr lang="en-US" smtClean="0"/>
              <a:t> </a:t>
            </a:r>
            <a:r>
              <a:rPr lang="en-US" err="1" smtClean="0"/>
              <a:t>buscamos</a:t>
            </a:r>
            <a:r>
              <a:rPr lang="en-US" smtClean="0"/>
              <a:t> con el </a:t>
            </a:r>
            <a:r>
              <a:rPr lang="en-US" err="1" smtClean="0"/>
              <a:t>estudio</a:t>
            </a:r>
            <a:r>
              <a:rPr lang="en-US" smtClean="0"/>
              <a:t>?</a:t>
            </a:r>
            <a:endParaRPr lang="en-US"/>
          </a:p>
        </p:txBody>
      </p:sp>
      <p:sp>
        <p:nvSpPr>
          <p:cNvPr id="165" name="TextBox 164" hidden="1"/>
          <p:cNvSpPr txBox="1"/>
          <p:nvPr/>
        </p:nvSpPr>
        <p:spPr bwMode="gray">
          <a:xfrm>
            <a:off x="6183111" y="2437517"/>
            <a:ext cx="9541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b="1" smtClean="0">
                <a:solidFill>
                  <a:schemeClr val="accent3"/>
                </a:solidFill>
                <a:latin typeface="Arial" pitchFamily="34" charset="0"/>
              </a:rPr>
              <a:t>20</a:t>
            </a:r>
            <a:endParaRPr lang="en-US" sz="5400" b="1">
              <a:solidFill>
                <a:schemeClr val="accent3"/>
              </a:solidFill>
              <a:latin typeface="Arial" pitchFamily="34" charset="0"/>
            </a:endParaRPr>
          </a:p>
        </p:txBody>
      </p:sp>
      <p:sp>
        <p:nvSpPr>
          <p:cNvPr id="166" name="TextBox 165" hidden="1"/>
          <p:cNvSpPr txBox="1"/>
          <p:nvPr/>
        </p:nvSpPr>
        <p:spPr bwMode="gray">
          <a:xfrm>
            <a:off x="6183111" y="3247630"/>
            <a:ext cx="9541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b="1" smtClean="0">
                <a:solidFill>
                  <a:schemeClr val="accent3"/>
                </a:solidFill>
                <a:latin typeface="Arial" pitchFamily="34" charset="0"/>
              </a:rPr>
              <a:t>80</a:t>
            </a:r>
            <a:endParaRPr lang="en-US" sz="5400" b="1">
              <a:solidFill>
                <a:schemeClr val="accent3"/>
              </a:solidFill>
              <a:latin typeface="Arial" pitchFamily="34" charset="0"/>
            </a:endParaRPr>
          </a:p>
        </p:txBody>
      </p:sp>
      <p:sp>
        <p:nvSpPr>
          <p:cNvPr id="167" name="TextBox 166" hidden="1"/>
          <p:cNvSpPr txBox="1"/>
          <p:nvPr/>
        </p:nvSpPr>
        <p:spPr bwMode="gray">
          <a:xfrm>
            <a:off x="6375470" y="4048142"/>
            <a:ext cx="5693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b="1" smtClean="0">
                <a:solidFill>
                  <a:schemeClr val="accent3"/>
                </a:solidFill>
                <a:latin typeface="Arial" pitchFamily="34" charset="0"/>
              </a:rPr>
              <a:t>1</a:t>
            </a:r>
            <a:endParaRPr lang="en-US" sz="5400" b="1">
              <a:solidFill>
                <a:schemeClr val="accent3"/>
              </a:solidFill>
              <a:latin typeface="Arial" pitchFamily="34" charset="0"/>
            </a:endParaRPr>
          </a:p>
        </p:txBody>
      </p:sp>
      <p:pic>
        <p:nvPicPr>
          <p:cNvPr id="50" name="Picture 14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508190" y="987530"/>
            <a:ext cx="432000" cy="432000"/>
          </a:xfrm>
          <a:prstGeom prst="rect">
            <a:avLst/>
          </a:prstGeom>
        </p:spPr>
      </p:pic>
      <p:sp>
        <p:nvSpPr>
          <p:cNvPr id="63" name="Trapezoid 3"/>
          <p:cNvSpPr/>
          <p:nvPr/>
        </p:nvSpPr>
        <p:spPr bwMode="gray">
          <a:xfrm>
            <a:off x="7776776" y="2152274"/>
            <a:ext cx="648000" cy="1871923"/>
          </a:xfrm>
          <a:prstGeom prst="trapezoid">
            <a:avLst>
              <a:gd name="adj" fmla="val 43978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itchFamily="34" charset="0"/>
            </a:endParaRPr>
          </a:p>
        </p:txBody>
      </p:sp>
      <p:sp>
        <p:nvSpPr>
          <p:cNvPr id="66" name="Rectangle 74"/>
          <p:cNvSpPr/>
          <p:nvPr/>
        </p:nvSpPr>
        <p:spPr bwMode="gray">
          <a:xfrm>
            <a:off x="395536" y="1000204"/>
            <a:ext cx="8391306" cy="648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 err="1" smtClean="0">
                <a:solidFill>
                  <a:schemeClr val="bg1"/>
                </a:solidFill>
                <a:latin typeface="Arial" pitchFamily="34" charset="0"/>
              </a:rPr>
              <a:t>Objetivo</a:t>
            </a:r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 de </a:t>
            </a:r>
            <a:r>
              <a:rPr lang="en-US" dirty="0" err="1" smtClean="0">
                <a:solidFill>
                  <a:schemeClr val="bg1"/>
                </a:solidFill>
                <a:latin typeface="Arial" pitchFamily="34" charset="0"/>
              </a:rPr>
              <a:t>Investigación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69" name="Rectangle 4"/>
          <p:cNvSpPr/>
          <p:nvPr/>
        </p:nvSpPr>
        <p:spPr bwMode="gray">
          <a:xfrm>
            <a:off x="395536" y="1648739"/>
            <a:ext cx="8391306" cy="309618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162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00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78" name="Picture 15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143900" y="1000114"/>
            <a:ext cx="642942" cy="642942"/>
          </a:xfrm>
          <a:prstGeom prst="rect">
            <a:avLst/>
          </a:prstGeom>
        </p:spPr>
      </p:pic>
      <p:sp>
        <p:nvSpPr>
          <p:cNvPr id="3" name="2 CuadroTexto"/>
          <p:cNvSpPr txBox="1"/>
          <p:nvPr/>
        </p:nvSpPr>
        <p:spPr bwMode="gray">
          <a:xfrm>
            <a:off x="539552" y="1995686"/>
            <a:ext cx="8208912" cy="113955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es-CL" sz="1600" b="1" dirty="0" smtClean="0">
                <a:latin typeface="Arial"/>
              </a:rPr>
              <a:t>Buscamos conocer a los chilenos respecto a las siguientes áreas:</a:t>
            </a:r>
          </a:p>
          <a:p>
            <a:pPr>
              <a:spcBef>
                <a:spcPts val="600"/>
              </a:spcBef>
            </a:pPr>
            <a:endParaRPr lang="es-CL" sz="1600" dirty="0" smtClean="0">
              <a:latin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L" sz="1600" dirty="0" smtClean="0">
                <a:latin typeface="Arial"/>
              </a:rPr>
              <a:t>Qué los hace felic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L" sz="1600" dirty="0" smtClean="0">
                <a:latin typeface="Arial"/>
              </a:rPr>
              <a:t>Cuáles son sus principales sueño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L" sz="1600" dirty="0" smtClean="0">
                <a:latin typeface="Arial"/>
              </a:rPr>
              <a:t>El porqué de sus sueño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L" sz="1600" dirty="0" smtClean="0">
                <a:latin typeface="Arial"/>
              </a:rPr>
              <a:t>Los principales obstáculos para realizar sus sueño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L" sz="1600" dirty="0" smtClean="0">
                <a:latin typeface="Arial"/>
              </a:rPr>
              <a:t>La proyección que tienen respecto a sus sueños y meta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s-CL" sz="1600" dirty="0" smtClean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29289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M</a:t>
            </a:r>
            <a:r>
              <a:rPr lang="es-CL" dirty="0" smtClean="0">
                <a:solidFill>
                  <a:schemeClr val="accent1"/>
                </a:solidFill>
              </a:rPr>
              <a:t>etodología </a:t>
            </a:r>
            <a:endParaRPr lang="es-CL" dirty="0">
              <a:solidFill>
                <a:schemeClr val="accent1"/>
              </a:solidFill>
            </a:endParaRPr>
          </a:p>
        </p:txBody>
      </p:sp>
      <p:sp>
        <p:nvSpPr>
          <p:cNvPr id="4" name="Rectangle 10"/>
          <p:cNvSpPr>
            <a:spLocks noChangeArrowheads="1"/>
          </p:cNvSpPr>
          <p:nvPr/>
        </p:nvSpPr>
        <p:spPr bwMode="gray">
          <a:xfrm>
            <a:off x="3275820" y="1383618"/>
            <a:ext cx="5544330" cy="75618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r>
              <a:rPr lang="es-CL" sz="1200" dirty="0" smtClean="0"/>
              <a:t>Hombres y mujeres de los </a:t>
            </a:r>
            <a:r>
              <a:rPr lang="es-CL" sz="1200" dirty="0"/>
              <a:t>estratos socioeconómicos </a:t>
            </a:r>
            <a:r>
              <a:rPr lang="es-CL" sz="1200" dirty="0" smtClean="0"/>
              <a:t>ABC1</a:t>
            </a:r>
            <a:r>
              <a:rPr lang="es-CL" sz="1200" dirty="0"/>
              <a:t>, </a:t>
            </a:r>
            <a:r>
              <a:rPr lang="es-CL" sz="1200" dirty="0" smtClean="0"/>
              <a:t>C2 y C3 </a:t>
            </a:r>
            <a:r>
              <a:rPr lang="es-CL" sz="1200" dirty="0"/>
              <a:t>de todo Chile, mayores de </a:t>
            </a:r>
            <a:r>
              <a:rPr lang="es-CL" sz="1200" dirty="0" smtClean="0"/>
              <a:t>18 </a:t>
            </a:r>
            <a:r>
              <a:rPr lang="es-CL" sz="1200" dirty="0"/>
              <a:t>años</a:t>
            </a:r>
            <a:r>
              <a:rPr lang="es-CL" sz="1200" dirty="0" smtClean="0"/>
              <a:t>.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gray">
          <a:xfrm>
            <a:off x="3275820" y="2247818"/>
            <a:ext cx="5544330" cy="756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200" dirty="0" err="1" smtClean="0">
                <a:latin typeface="Arial" pitchFamily="34" charset="0"/>
              </a:rPr>
              <a:t>Estudio</a:t>
            </a:r>
            <a:r>
              <a:rPr lang="en-US" sz="1200" dirty="0" smtClean="0">
                <a:latin typeface="Arial" pitchFamily="34" charset="0"/>
              </a:rPr>
              <a:t> </a:t>
            </a:r>
            <a:r>
              <a:rPr lang="en-US" sz="1200" dirty="0" err="1" smtClean="0">
                <a:latin typeface="Arial" pitchFamily="34" charset="0"/>
              </a:rPr>
              <a:t>Cuantitativo</a:t>
            </a:r>
            <a:r>
              <a:rPr lang="en-US" sz="1200" dirty="0" smtClean="0">
                <a:latin typeface="Arial" pitchFamily="34" charset="0"/>
              </a:rPr>
              <a:t> con </a:t>
            </a:r>
            <a:r>
              <a:rPr lang="en-US" sz="1200" dirty="0" err="1" smtClean="0">
                <a:latin typeface="Arial" pitchFamily="34" charset="0"/>
              </a:rPr>
              <a:t>encuestas</a:t>
            </a:r>
            <a:r>
              <a:rPr lang="en-US" sz="1200" dirty="0" smtClean="0">
                <a:latin typeface="Arial" pitchFamily="34" charset="0"/>
              </a:rPr>
              <a:t> online.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gray">
          <a:xfrm>
            <a:off x="3275821" y="3111938"/>
            <a:ext cx="5544330" cy="756105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200" dirty="0" smtClean="0">
                <a:latin typeface="Arial" pitchFamily="34" charset="0"/>
              </a:rPr>
              <a:t>600</a:t>
            </a:r>
            <a:r>
              <a:rPr lang="en-US" sz="1200" dirty="0" smtClean="0">
                <a:latin typeface="Arial" pitchFamily="34" charset="0"/>
              </a:rPr>
              <a:t> </a:t>
            </a:r>
            <a:r>
              <a:rPr lang="en-US" sz="1200" dirty="0" err="1" smtClean="0">
                <a:latin typeface="Arial" pitchFamily="34" charset="0"/>
              </a:rPr>
              <a:t>casos</a:t>
            </a:r>
            <a:r>
              <a:rPr lang="en-US" sz="1200" dirty="0" smtClean="0">
                <a:latin typeface="Arial" pitchFamily="34" charset="0"/>
              </a:rPr>
              <a:t> </a:t>
            </a:r>
            <a:r>
              <a:rPr lang="en-US" sz="1200" dirty="0" err="1" smtClean="0">
                <a:latin typeface="Arial" pitchFamily="34" charset="0"/>
              </a:rPr>
              <a:t>totales</a:t>
            </a:r>
            <a:r>
              <a:rPr lang="en-US" sz="1200" dirty="0" smtClean="0">
                <a:latin typeface="Arial" pitchFamily="34" charset="0"/>
              </a:rPr>
              <a:t>, </a:t>
            </a:r>
            <a:r>
              <a:rPr lang="en-US" sz="1200" dirty="0" err="1" smtClean="0">
                <a:latin typeface="Arial" pitchFamily="34" charset="0"/>
              </a:rPr>
              <a:t>ponderados</a:t>
            </a:r>
            <a:r>
              <a:rPr lang="en-US" sz="1200" dirty="0" smtClean="0">
                <a:latin typeface="Arial" pitchFamily="34" charset="0"/>
              </a:rPr>
              <a:t> </a:t>
            </a:r>
            <a:r>
              <a:rPr lang="en-US" sz="1200" dirty="0" err="1" smtClean="0">
                <a:latin typeface="Arial" pitchFamily="34" charset="0"/>
              </a:rPr>
              <a:t>en</a:t>
            </a:r>
            <a:r>
              <a:rPr lang="en-US" sz="1200" dirty="0" smtClean="0">
                <a:latin typeface="Arial" pitchFamily="34" charset="0"/>
              </a:rPr>
              <a:t> base a la </a:t>
            </a:r>
            <a:r>
              <a:rPr lang="en-US" sz="1200" dirty="0" err="1" smtClean="0">
                <a:latin typeface="Arial" pitchFamily="34" charset="0"/>
              </a:rPr>
              <a:t>población</a:t>
            </a:r>
            <a:r>
              <a:rPr lang="en-US" sz="1200" dirty="0" smtClean="0">
                <a:latin typeface="Arial" pitchFamily="34" charset="0"/>
              </a:rPr>
              <a:t> </a:t>
            </a:r>
            <a:r>
              <a:rPr lang="en-US" sz="1200" dirty="0" err="1" smtClean="0">
                <a:latin typeface="Arial" pitchFamily="34" charset="0"/>
              </a:rPr>
              <a:t>nacional</a:t>
            </a:r>
            <a:r>
              <a:rPr lang="en-US" sz="1200" dirty="0" smtClean="0">
                <a:latin typeface="Arial" pitchFamily="34" charset="0"/>
              </a:rPr>
              <a:t> </a:t>
            </a:r>
            <a:r>
              <a:rPr lang="en-US" sz="1200" dirty="0" err="1" smtClean="0">
                <a:latin typeface="Arial" pitchFamily="34" charset="0"/>
              </a:rPr>
              <a:t>Censo</a:t>
            </a:r>
            <a:r>
              <a:rPr lang="en-US" sz="1200" dirty="0" smtClean="0">
                <a:latin typeface="Arial" pitchFamily="34" charset="0"/>
              </a:rPr>
              <a:t> 2012. 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8" name="Freihandform 21"/>
          <p:cNvSpPr/>
          <p:nvPr/>
        </p:nvSpPr>
        <p:spPr bwMode="gray">
          <a:xfrm>
            <a:off x="323411" y="1383619"/>
            <a:ext cx="2735703" cy="742154"/>
          </a:xfrm>
          <a:custGeom>
            <a:avLst/>
            <a:gdLst>
              <a:gd name="connsiteX0" fmla="*/ 0 w 4249167"/>
              <a:gd name="connsiteY0" fmla="*/ 0 h 648048"/>
              <a:gd name="connsiteX1" fmla="*/ 4249167 w 4249167"/>
              <a:gd name="connsiteY1" fmla="*/ 0 h 648048"/>
              <a:gd name="connsiteX2" fmla="*/ 4249167 w 4249167"/>
              <a:gd name="connsiteY2" fmla="*/ 648048 h 648048"/>
              <a:gd name="connsiteX3" fmla="*/ 0 w 4249167"/>
              <a:gd name="connsiteY3" fmla="*/ 648048 h 648048"/>
              <a:gd name="connsiteX4" fmla="*/ 0 w 4249167"/>
              <a:gd name="connsiteY4" fmla="*/ 0 h 648048"/>
              <a:gd name="connsiteX0" fmla="*/ 0 w 4249167"/>
              <a:gd name="connsiteY0" fmla="*/ 0 h 648048"/>
              <a:gd name="connsiteX1" fmla="*/ 4249167 w 4249167"/>
              <a:gd name="connsiteY1" fmla="*/ 0 h 648048"/>
              <a:gd name="connsiteX2" fmla="*/ 4244442 w 4249167"/>
              <a:gd name="connsiteY2" fmla="*/ 334117 h 648048"/>
              <a:gd name="connsiteX3" fmla="*/ 4249167 w 4249167"/>
              <a:gd name="connsiteY3" fmla="*/ 648048 h 648048"/>
              <a:gd name="connsiteX4" fmla="*/ 0 w 4249167"/>
              <a:gd name="connsiteY4" fmla="*/ 648048 h 648048"/>
              <a:gd name="connsiteX5" fmla="*/ 0 w 4249167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288008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360016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288008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324013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1391657 w 4393183"/>
              <a:gd name="connsiteY0" fmla="*/ 358 h 648048"/>
              <a:gd name="connsiteX1" fmla="*/ 4249167 w 4393183"/>
              <a:gd name="connsiteY1" fmla="*/ 0 h 648048"/>
              <a:gd name="connsiteX2" fmla="*/ 4393183 w 4393183"/>
              <a:gd name="connsiteY2" fmla="*/ 324013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1391657 w 4393183"/>
              <a:gd name="connsiteY5" fmla="*/ 358 h 648048"/>
              <a:gd name="connsiteX0" fmla="*/ 0 w 3001526"/>
              <a:gd name="connsiteY0" fmla="*/ 358 h 648048"/>
              <a:gd name="connsiteX1" fmla="*/ 2857510 w 3001526"/>
              <a:gd name="connsiteY1" fmla="*/ 0 h 648048"/>
              <a:gd name="connsiteX2" fmla="*/ 3001526 w 3001526"/>
              <a:gd name="connsiteY2" fmla="*/ 324013 h 648048"/>
              <a:gd name="connsiteX3" fmla="*/ 2857510 w 3001526"/>
              <a:gd name="connsiteY3" fmla="*/ 648048 h 648048"/>
              <a:gd name="connsiteX4" fmla="*/ 0 w 3001526"/>
              <a:gd name="connsiteY4" fmla="*/ 648048 h 648048"/>
              <a:gd name="connsiteX5" fmla="*/ 0 w 3001526"/>
              <a:gd name="connsiteY5" fmla="*/ 358 h 648048"/>
              <a:gd name="connsiteX0" fmla="*/ 292831 w 3001526"/>
              <a:gd name="connsiteY0" fmla="*/ 358 h 648048"/>
              <a:gd name="connsiteX1" fmla="*/ 2857510 w 3001526"/>
              <a:gd name="connsiteY1" fmla="*/ 0 h 648048"/>
              <a:gd name="connsiteX2" fmla="*/ 3001526 w 3001526"/>
              <a:gd name="connsiteY2" fmla="*/ 324013 h 648048"/>
              <a:gd name="connsiteX3" fmla="*/ 2857510 w 3001526"/>
              <a:gd name="connsiteY3" fmla="*/ 648048 h 648048"/>
              <a:gd name="connsiteX4" fmla="*/ 0 w 3001526"/>
              <a:gd name="connsiteY4" fmla="*/ 648048 h 648048"/>
              <a:gd name="connsiteX5" fmla="*/ 292831 w 3001526"/>
              <a:gd name="connsiteY5" fmla="*/ 358 h 648048"/>
              <a:gd name="connsiteX0" fmla="*/ 0 w 2708695"/>
              <a:gd name="connsiteY0" fmla="*/ 358 h 648048"/>
              <a:gd name="connsiteX1" fmla="*/ 2564679 w 2708695"/>
              <a:gd name="connsiteY1" fmla="*/ 0 h 648048"/>
              <a:gd name="connsiteX2" fmla="*/ 2708695 w 2708695"/>
              <a:gd name="connsiteY2" fmla="*/ 324013 h 648048"/>
              <a:gd name="connsiteX3" fmla="*/ 2564679 w 2708695"/>
              <a:gd name="connsiteY3" fmla="*/ 648048 h 648048"/>
              <a:gd name="connsiteX4" fmla="*/ 0 w 2708695"/>
              <a:gd name="connsiteY4" fmla="*/ 648048 h 648048"/>
              <a:gd name="connsiteX5" fmla="*/ 0 w 2708695"/>
              <a:gd name="connsiteY5" fmla="*/ 358 h 648048"/>
              <a:gd name="connsiteX0" fmla="*/ 73208 w 2708695"/>
              <a:gd name="connsiteY0" fmla="*/ 358 h 648048"/>
              <a:gd name="connsiteX1" fmla="*/ 2564679 w 2708695"/>
              <a:gd name="connsiteY1" fmla="*/ 0 h 648048"/>
              <a:gd name="connsiteX2" fmla="*/ 2708695 w 2708695"/>
              <a:gd name="connsiteY2" fmla="*/ 324013 h 648048"/>
              <a:gd name="connsiteX3" fmla="*/ 2564679 w 2708695"/>
              <a:gd name="connsiteY3" fmla="*/ 648048 h 648048"/>
              <a:gd name="connsiteX4" fmla="*/ 0 w 2708695"/>
              <a:gd name="connsiteY4" fmla="*/ 648048 h 648048"/>
              <a:gd name="connsiteX5" fmla="*/ 73208 w 2708695"/>
              <a:gd name="connsiteY5" fmla="*/ 358 h 648048"/>
              <a:gd name="connsiteX0" fmla="*/ 0 w 2635487"/>
              <a:gd name="connsiteY0" fmla="*/ 358 h 648048"/>
              <a:gd name="connsiteX1" fmla="*/ 2491471 w 2635487"/>
              <a:gd name="connsiteY1" fmla="*/ 0 h 648048"/>
              <a:gd name="connsiteX2" fmla="*/ 2635487 w 2635487"/>
              <a:gd name="connsiteY2" fmla="*/ 324013 h 648048"/>
              <a:gd name="connsiteX3" fmla="*/ 2491471 w 2635487"/>
              <a:gd name="connsiteY3" fmla="*/ 648048 h 648048"/>
              <a:gd name="connsiteX4" fmla="*/ 0 w 2635487"/>
              <a:gd name="connsiteY4" fmla="*/ 648048 h 648048"/>
              <a:gd name="connsiteX5" fmla="*/ 0 w 2635487"/>
              <a:gd name="connsiteY5" fmla="*/ 358 h 648048"/>
              <a:gd name="connsiteX0" fmla="*/ 0 w 2782608"/>
              <a:gd name="connsiteY0" fmla="*/ 358 h 648048"/>
              <a:gd name="connsiteX1" fmla="*/ 2638592 w 2782608"/>
              <a:gd name="connsiteY1" fmla="*/ 0 h 648048"/>
              <a:gd name="connsiteX2" fmla="*/ 2782608 w 2782608"/>
              <a:gd name="connsiteY2" fmla="*/ 324013 h 648048"/>
              <a:gd name="connsiteX3" fmla="*/ 2638592 w 2782608"/>
              <a:gd name="connsiteY3" fmla="*/ 648048 h 648048"/>
              <a:gd name="connsiteX4" fmla="*/ 147121 w 2782608"/>
              <a:gd name="connsiteY4" fmla="*/ 648048 h 648048"/>
              <a:gd name="connsiteX5" fmla="*/ 0 w 2782608"/>
              <a:gd name="connsiteY5" fmla="*/ 358 h 648048"/>
              <a:gd name="connsiteX0" fmla="*/ 0 w 2782608"/>
              <a:gd name="connsiteY0" fmla="*/ 358 h 648048"/>
              <a:gd name="connsiteX1" fmla="*/ 2638592 w 2782608"/>
              <a:gd name="connsiteY1" fmla="*/ 0 h 648048"/>
              <a:gd name="connsiteX2" fmla="*/ 2782608 w 2782608"/>
              <a:gd name="connsiteY2" fmla="*/ 324013 h 648048"/>
              <a:gd name="connsiteX3" fmla="*/ 2638592 w 2782608"/>
              <a:gd name="connsiteY3" fmla="*/ 648048 h 648048"/>
              <a:gd name="connsiteX4" fmla="*/ 0 w 2782608"/>
              <a:gd name="connsiteY4" fmla="*/ 648048 h 648048"/>
              <a:gd name="connsiteX5" fmla="*/ 0 w 2782608"/>
              <a:gd name="connsiteY5" fmla="*/ 358 h 648048"/>
              <a:gd name="connsiteX0" fmla="*/ 0 w 2929024"/>
              <a:gd name="connsiteY0" fmla="*/ 358 h 648048"/>
              <a:gd name="connsiteX1" fmla="*/ 2785008 w 2929024"/>
              <a:gd name="connsiteY1" fmla="*/ 0 h 648048"/>
              <a:gd name="connsiteX2" fmla="*/ 2929024 w 2929024"/>
              <a:gd name="connsiteY2" fmla="*/ 324013 h 648048"/>
              <a:gd name="connsiteX3" fmla="*/ 2785008 w 2929024"/>
              <a:gd name="connsiteY3" fmla="*/ 648048 h 648048"/>
              <a:gd name="connsiteX4" fmla="*/ 146416 w 2929024"/>
              <a:gd name="connsiteY4" fmla="*/ 648048 h 648048"/>
              <a:gd name="connsiteX5" fmla="*/ 0 w 2929024"/>
              <a:gd name="connsiteY5" fmla="*/ 358 h 648048"/>
              <a:gd name="connsiteX0" fmla="*/ 0 w 2929024"/>
              <a:gd name="connsiteY0" fmla="*/ 358 h 648048"/>
              <a:gd name="connsiteX1" fmla="*/ 2785008 w 2929024"/>
              <a:gd name="connsiteY1" fmla="*/ 0 h 648048"/>
              <a:gd name="connsiteX2" fmla="*/ 2929024 w 2929024"/>
              <a:gd name="connsiteY2" fmla="*/ 324013 h 648048"/>
              <a:gd name="connsiteX3" fmla="*/ 2785008 w 2929024"/>
              <a:gd name="connsiteY3" fmla="*/ 648048 h 648048"/>
              <a:gd name="connsiteX4" fmla="*/ 0 w 2929024"/>
              <a:gd name="connsiteY4" fmla="*/ 648048 h 648048"/>
              <a:gd name="connsiteX5" fmla="*/ 0 w 2929024"/>
              <a:gd name="connsiteY5" fmla="*/ 358 h 648048"/>
              <a:gd name="connsiteX0" fmla="*/ 0 w 2929024"/>
              <a:gd name="connsiteY0" fmla="*/ 0 h 647690"/>
              <a:gd name="connsiteX1" fmla="*/ 2709400 w 2929024"/>
              <a:gd name="connsiteY1" fmla="*/ 0 h 647690"/>
              <a:gd name="connsiteX2" fmla="*/ 2929024 w 2929024"/>
              <a:gd name="connsiteY2" fmla="*/ 323655 h 647690"/>
              <a:gd name="connsiteX3" fmla="*/ 2785008 w 2929024"/>
              <a:gd name="connsiteY3" fmla="*/ 647690 h 647690"/>
              <a:gd name="connsiteX4" fmla="*/ 0 w 2929024"/>
              <a:gd name="connsiteY4" fmla="*/ 647690 h 647690"/>
              <a:gd name="connsiteX5" fmla="*/ 0 w 2929024"/>
              <a:gd name="connsiteY5" fmla="*/ 0 h 647690"/>
              <a:gd name="connsiteX0" fmla="*/ 0 w 2929024"/>
              <a:gd name="connsiteY0" fmla="*/ 0 h 647690"/>
              <a:gd name="connsiteX1" fmla="*/ 2709400 w 2929024"/>
              <a:gd name="connsiteY1" fmla="*/ 0 h 647690"/>
              <a:gd name="connsiteX2" fmla="*/ 2929024 w 2929024"/>
              <a:gd name="connsiteY2" fmla="*/ 323655 h 647690"/>
              <a:gd name="connsiteX3" fmla="*/ 2709400 w 2929024"/>
              <a:gd name="connsiteY3" fmla="*/ 647690 h 647690"/>
              <a:gd name="connsiteX4" fmla="*/ 0 w 2929024"/>
              <a:gd name="connsiteY4" fmla="*/ 647690 h 647690"/>
              <a:gd name="connsiteX5" fmla="*/ 0 w 2929024"/>
              <a:gd name="connsiteY5" fmla="*/ 0 h 647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29024" h="647690">
                <a:moveTo>
                  <a:pt x="0" y="0"/>
                </a:moveTo>
                <a:lnTo>
                  <a:pt x="2709400" y="0"/>
                </a:lnTo>
                <a:lnTo>
                  <a:pt x="2929024" y="323655"/>
                </a:lnTo>
                <a:lnTo>
                  <a:pt x="2709400" y="647690"/>
                </a:lnTo>
                <a:lnTo>
                  <a:pt x="0" y="64769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t" anchorCtr="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smtClean="0">
                <a:solidFill>
                  <a:schemeClr val="bg1"/>
                </a:solidFill>
                <a:latin typeface="Arial" pitchFamily="34" charset="0"/>
              </a:rPr>
              <a:t>Grupo Objetivo</a:t>
            </a:r>
            <a:endParaRPr lang="en-US" sz="160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9" name="Freihandform 22"/>
          <p:cNvSpPr/>
          <p:nvPr/>
        </p:nvSpPr>
        <p:spPr bwMode="gray">
          <a:xfrm>
            <a:off x="323411" y="2247818"/>
            <a:ext cx="2735703" cy="756105"/>
          </a:xfrm>
          <a:custGeom>
            <a:avLst/>
            <a:gdLst>
              <a:gd name="connsiteX0" fmla="*/ 0 w 4249167"/>
              <a:gd name="connsiteY0" fmla="*/ 0 h 648048"/>
              <a:gd name="connsiteX1" fmla="*/ 4249167 w 4249167"/>
              <a:gd name="connsiteY1" fmla="*/ 0 h 648048"/>
              <a:gd name="connsiteX2" fmla="*/ 4249167 w 4249167"/>
              <a:gd name="connsiteY2" fmla="*/ 648048 h 648048"/>
              <a:gd name="connsiteX3" fmla="*/ 0 w 4249167"/>
              <a:gd name="connsiteY3" fmla="*/ 648048 h 648048"/>
              <a:gd name="connsiteX4" fmla="*/ 0 w 4249167"/>
              <a:gd name="connsiteY4" fmla="*/ 0 h 648048"/>
              <a:gd name="connsiteX0" fmla="*/ 0 w 4249167"/>
              <a:gd name="connsiteY0" fmla="*/ 0 h 648048"/>
              <a:gd name="connsiteX1" fmla="*/ 4249167 w 4249167"/>
              <a:gd name="connsiteY1" fmla="*/ 0 h 648048"/>
              <a:gd name="connsiteX2" fmla="*/ 4244442 w 4249167"/>
              <a:gd name="connsiteY2" fmla="*/ 334117 h 648048"/>
              <a:gd name="connsiteX3" fmla="*/ 4249167 w 4249167"/>
              <a:gd name="connsiteY3" fmla="*/ 648048 h 648048"/>
              <a:gd name="connsiteX4" fmla="*/ 0 w 4249167"/>
              <a:gd name="connsiteY4" fmla="*/ 648048 h 648048"/>
              <a:gd name="connsiteX5" fmla="*/ 0 w 4249167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288008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360016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288008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324013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1391657 w 4393183"/>
              <a:gd name="connsiteY0" fmla="*/ 358 h 648048"/>
              <a:gd name="connsiteX1" fmla="*/ 4249167 w 4393183"/>
              <a:gd name="connsiteY1" fmla="*/ 0 h 648048"/>
              <a:gd name="connsiteX2" fmla="*/ 4393183 w 4393183"/>
              <a:gd name="connsiteY2" fmla="*/ 324013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1391657 w 4393183"/>
              <a:gd name="connsiteY5" fmla="*/ 358 h 648048"/>
              <a:gd name="connsiteX0" fmla="*/ 0 w 3001526"/>
              <a:gd name="connsiteY0" fmla="*/ 358 h 648048"/>
              <a:gd name="connsiteX1" fmla="*/ 2857510 w 3001526"/>
              <a:gd name="connsiteY1" fmla="*/ 0 h 648048"/>
              <a:gd name="connsiteX2" fmla="*/ 3001526 w 3001526"/>
              <a:gd name="connsiteY2" fmla="*/ 324013 h 648048"/>
              <a:gd name="connsiteX3" fmla="*/ 2857510 w 3001526"/>
              <a:gd name="connsiteY3" fmla="*/ 648048 h 648048"/>
              <a:gd name="connsiteX4" fmla="*/ 0 w 3001526"/>
              <a:gd name="connsiteY4" fmla="*/ 648048 h 648048"/>
              <a:gd name="connsiteX5" fmla="*/ 0 w 3001526"/>
              <a:gd name="connsiteY5" fmla="*/ 358 h 648048"/>
              <a:gd name="connsiteX0" fmla="*/ 292831 w 3001526"/>
              <a:gd name="connsiteY0" fmla="*/ 358 h 648048"/>
              <a:gd name="connsiteX1" fmla="*/ 2857510 w 3001526"/>
              <a:gd name="connsiteY1" fmla="*/ 0 h 648048"/>
              <a:gd name="connsiteX2" fmla="*/ 3001526 w 3001526"/>
              <a:gd name="connsiteY2" fmla="*/ 324013 h 648048"/>
              <a:gd name="connsiteX3" fmla="*/ 2857510 w 3001526"/>
              <a:gd name="connsiteY3" fmla="*/ 648048 h 648048"/>
              <a:gd name="connsiteX4" fmla="*/ 0 w 3001526"/>
              <a:gd name="connsiteY4" fmla="*/ 648048 h 648048"/>
              <a:gd name="connsiteX5" fmla="*/ 292831 w 3001526"/>
              <a:gd name="connsiteY5" fmla="*/ 358 h 648048"/>
              <a:gd name="connsiteX0" fmla="*/ 0 w 2708695"/>
              <a:gd name="connsiteY0" fmla="*/ 358 h 648048"/>
              <a:gd name="connsiteX1" fmla="*/ 2564679 w 2708695"/>
              <a:gd name="connsiteY1" fmla="*/ 0 h 648048"/>
              <a:gd name="connsiteX2" fmla="*/ 2708695 w 2708695"/>
              <a:gd name="connsiteY2" fmla="*/ 324013 h 648048"/>
              <a:gd name="connsiteX3" fmla="*/ 2564679 w 2708695"/>
              <a:gd name="connsiteY3" fmla="*/ 648048 h 648048"/>
              <a:gd name="connsiteX4" fmla="*/ 0 w 2708695"/>
              <a:gd name="connsiteY4" fmla="*/ 648048 h 648048"/>
              <a:gd name="connsiteX5" fmla="*/ 0 w 2708695"/>
              <a:gd name="connsiteY5" fmla="*/ 358 h 648048"/>
              <a:gd name="connsiteX0" fmla="*/ 73208 w 2708695"/>
              <a:gd name="connsiteY0" fmla="*/ 358 h 648048"/>
              <a:gd name="connsiteX1" fmla="*/ 2564679 w 2708695"/>
              <a:gd name="connsiteY1" fmla="*/ 0 h 648048"/>
              <a:gd name="connsiteX2" fmla="*/ 2708695 w 2708695"/>
              <a:gd name="connsiteY2" fmla="*/ 324013 h 648048"/>
              <a:gd name="connsiteX3" fmla="*/ 2564679 w 2708695"/>
              <a:gd name="connsiteY3" fmla="*/ 648048 h 648048"/>
              <a:gd name="connsiteX4" fmla="*/ 0 w 2708695"/>
              <a:gd name="connsiteY4" fmla="*/ 648048 h 648048"/>
              <a:gd name="connsiteX5" fmla="*/ 73208 w 2708695"/>
              <a:gd name="connsiteY5" fmla="*/ 358 h 648048"/>
              <a:gd name="connsiteX0" fmla="*/ 0 w 2635487"/>
              <a:gd name="connsiteY0" fmla="*/ 358 h 648048"/>
              <a:gd name="connsiteX1" fmla="*/ 2491471 w 2635487"/>
              <a:gd name="connsiteY1" fmla="*/ 0 h 648048"/>
              <a:gd name="connsiteX2" fmla="*/ 2635487 w 2635487"/>
              <a:gd name="connsiteY2" fmla="*/ 324013 h 648048"/>
              <a:gd name="connsiteX3" fmla="*/ 2491471 w 2635487"/>
              <a:gd name="connsiteY3" fmla="*/ 648048 h 648048"/>
              <a:gd name="connsiteX4" fmla="*/ 0 w 2635487"/>
              <a:gd name="connsiteY4" fmla="*/ 648048 h 648048"/>
              <a:gd name="connsiteX5" fmla="*/ 0 w 2635487"/>
              <a:gd name="connsiteY5" fmla="*/ 358 h 648048"/>
              <a:gd name="connsiteX0" fmla="*/ 0 w 2782608"/>
              <a:gd name="connsiteY0" fmla="*/ 358 h 648048"/>
              <a:gd name="connsiteX1" fmla="*/ 2638592 w 2782608"/>
              <a:gd name="connsiteY1" fmla="*/ 0 h 648048"/>
              <a:gd name="connsiteX2" fmla="*/ 2782608 w 2782608"/>
              <a:gd name="connsiteY2" fmla="*/ 324013 h 648048"/>
              <a:gd name="connsiteX3" fmla="*/ 2638592 w 2782608"/>
              <a:gd name="connsiteY3" fmla="*/ 648048 h 648048"/>
              <a:gd name="connsiteX4" fmla="*/ 147121 w 2782608"/>
              <a:gd name="connsiteY4" fmla="*/ 648048 h 648048"/>
              <a:gd name="connsiteX5" fmla="*/ 0 w 2782608"/>
              <a:gd name="connsiteY5" fmla="*/ 358 h 648048"/>
              <a:gd name="connsiteX0" fmla="*/ 0 w 2782608"/>
              <a:gd name="connsiteY0" fmla="*/ 358 h 648048"/>
              <a:gd name="connsiteX1" fmla="*/ 2638592 w 2782608"/>
              <a:gd name="connsiteY1" fmla="*/ 0 h 648048"/>
              <a:gd name="connsiteX2" fmla="*/ 2782608 w 2782608"/>
              <a:gd name="connsiteY2" fmla="*/ 324013 h 648048"/>
              <a:gd name="connsiteX3" fmla="*/ 2638592 w 2782608"/>
              <a:gd name="connsiteY3" fmla="*/ 648048 h 648048"/>
              <a:gd name="connsiteX4" fmla="*/ 0 w 2782608"/>
              <a:gd name="connsiteY4" fmla="*/ 648048 h 648048"/>
              <a:gd name="connsiteX5" fmla="*/ 0 w 2782608"/>
              <a:gd name="connsiteY5" fmla="*/ 358 h 648048"/>
              <a:gd name="connsiteX0" fmla="*/ 0 w 2929024"/>
              <a:gd name="connsiteY0" fmla="*/ 358 h 648048"/>
              <a:gd name="connsiteX1" fmla="*/ 2785008 w 2929024"/>
              <a:gd name="connsiteY1" fmla="*/ 0 h 648048"/>
              <a:gd name="connsiteX2" fmla="*/ 2929024 w 2929024"/>
              <a:gd name="connsiteY2" fmla="*/ 324013 h 648048"/>
              <a:gd name="connsiteX3" fmla="*/ 2785008 w 2929024"/>
              <a:gd name="connsiteY3" fmla="*/ 648048 h 648048"/>
              <a:gd name="connsiteX4" fmla="*/ 146416 w 2929024"/>
              <a:gd name="connsiteY4" fmla="*/ 648048 h 648048"/>
              <a:gd name="connsiteX5" fmla="*/ 0 w 2929024"/>
              <a:gd name="connsiteY5" fmla="*/ 358 h 648048"/>
              <a:gd name="connsiteX0" fmla="*/ 0 w 2929024"/>
              <a:gd name="connsiteY0" fmla="*/ 358 h 648048"/>
              <a:gd name="connsiteX1" fmla="*/ 2785008 w 2929024"/>
              <a:gd name="connsiteY1" fmla="*/ 0 h 648048"/>
              <a:gd name="connsiteX2" fmla="*/ 2929024 w 2929024"/>
              <a:gd name="connsiteY2" fmla="*/ 324013 h 648048"/>
              <a:gd name="connsiteX3" fmla="*/ 2785008 w 2929024"/>
              <a:gd name="connsiteY3" fmla="*/ 648048 h 648048"/>
              <a:gd name="connsiteX4" fmla="*/ 0 w 2929024"/>
              <a:gd name="connsiteY4" fmla="*/ 648048 h 648048"/>
              <a:gd name="connsiteX5" fmla="*/ 0 w 2929024"/>
              <a:gd name="connsiteY5" fmla="*/ 358 h 648048"/>
              <a:gd name="connsiteX0" fmla="*/ 0 w 2929024"/>
              <a:gd name="connsiteY0" fmla="*/ 0 h 647690"/>
              <a:gd name="connsiteX1" fmla="*/ 2709400 w 2929024"/>
              <a:gd name="connsiteY1" fmla="*/ 0 h 647690"/>
              <a:gd name="connsiteX2" fmla="*/ 2929024 w 2929024"/>
              <a:gd name="connsiteY2" fmla="*/ 323655 h 647690"/>
              <a:gd name="connsiteX3" fmla="*/ 2785008 w 2929024"/>
              <a:gd name="connsiteY3" fmla="*/ 647690 h 647690"/>
              <a:gd name="connsiteX4" fmla="*/ 0 w 2929024"/>
              <a:gd name="connsiteY4" fmla="*/ 647690 h 647690"/>
              <a:gd name="connsiteX5" fmla="*/ 0 w 2929024"/>
              <a:gd name="connsiteY5" fmla="*/ 0 h 647690"/>
              <a:gd name="connsiteX0" fmla="*/ 0 w 2929024"/>
              <a:gd name="connsiteY0" fmla="*/ 0 h 647690"/>
              <a:gd name="connsiteX1" fmla="*/ 2709400 w 2929024"/>
              <a:gd name="connsiteY1" fmla="*/ 0 h 647690"/>
              <a:gd name="connsiteX2" fmla="*/ 2929024 w 2929024"/>
              <a:gd name="connsiteY2" fmla="*/ 323655 h 647690"/>
              <a:gd name="connsiteX3" fmla="*/ 2709400 w 2929024"/>
              <a:gd name="connsiteY3" fmla="*/ 647690 h 647690"/>
              <a:gd name="connsiteX4" fmla="*/ 0 w 2929024"/>
              <a:gd name="connsiteY4" fmla="*/ 647690 h 647690"/>
              <a:gd name="connsiteX5" fmla="*/ 0 w 2929024"/>
              <a:gd name="connsiteY5" fmla="*/ 0 h 647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29024" h="647690">
                <a:moveTo>
                  <a:pt x="0" y="0"/>
                </a:moveTo>
                <a:lnTo>
                  <a:pt x="2709400" y="0"/>
                </a:lnTo>
                <a:lnTo>
                  <a:pt x="2929024" y="323655"/>
                </a:lnTo>
                <a:lnTo>
                  <a:pt x="2709400" y="647690"/>
                </a:lnTo>
                <a:lnTo>
                  <a:pt x="0" y="64769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t" anchorCtr="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dirty="0" err="1" smtClean="0">
                <a:solidFill>
                  <a:schemeClr val="bg1"/>
                </a:solidFill>
                <a:latin typeface="Arial" pitchFamily="34" charset="0"/>
              </a:rPr>
              <a:t>Técnica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0" name="Freihandform 23"/>
          <p:cNvSpPr/>
          <p:nvPr/>
        </p:nvSpPr>
        <p:spPr bwMode="gray">
          <a:xfrm>
            <a:off x="313582" y="3111938"/>
            <a:ext cx="2735703" cy="756105"/>
          </a:xfrm>
          <a:custGeom>
            <a:avLst/>
            <a:gdLst>
              <a:gd name="connsiteX0" fmla="*/ 0 w 4249167"/>
              <a:gd name="connsiteY0" fmla="*/ 0 h 648048"/>
              <a:gd name="connsiteX1" fmla="*/ 4249167 w 4249167"/>
              <a:gd name="connsiteY1" fmla="*/ 0 h 648048"/>
              <a:gd name="connsiteX2" fmla="*/ 4249167 w 4249167"/>
              <a:gd name="connsiteY2" fmla="*/ 648048 h 648048"/>
              <a:gd name="connsiteX3" fmla="*/ 0 w 4249167"/>
              <a:gd name="connsiteY3" fmla="*/ 648048 h 648048"/>
              <a:gd name="connsiteX4" fmla="*/ 0 w 4249167"/>
              <a:gd name="connsiteY4" fmla="*/ 0 h 648048"/>
              <a:gd name="connsiteX0" fmla="*/ 0 w 4249167"/>
              <a:gd name="connsiteY0" fmla="*/ 0 h 648048"/>
              <a:gd name="connsiteX1" fmla="*/ 4249167 w 4249167"/>
              <a:gd name="connsiteY1" fmla="*/ 0 h 648048"/>
              <a:gd name="connsiteX2" fmla="*/ 4244442 w 4249167"/>
              <a:gd name="connsiteY2" fmla="*/ 334117 h 648048"/>
              <a:gd name="connsiteX3" fmla="*/ 4249167 w 4249167"/>
              <a:gd name="connsiteY3" fmla="*/ 648048 h 648048"/>
              <a:gd name="connsiteX4" fmla="*/ 0 w 4249167"/>
              <a:gd name="connsiteY4" fmla="*/ 648048 h 648048"/>
              <a:gd name="connsiteX5" fmla="*/ 0 w 4249167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288008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360016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288008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324013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1391657 w 4393183"/>
              <a:gd name="connsiteY0" fmla="*/ 358 h 648048"/>
              <a:gd name="connsiteX1" fmla="*/ 4249167 w 4393183"/>
              <a:gd name="connsiteY1" fmla="*/ 0 h 648048"/>
              <a:gd name="connsiteX2" fmla="*/ 4393183 w 4393183"/>
              <a:gd name="connsiteY2" fmla="*/ 324013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1391657 w 4393183"/>
              <a:gd name="connsiteY5" fmla="*/ 358 h 648048"/>
              <a:gd name="connsiteX0" fmla="*/ 0 w 3001526"/>
              <a:gd name="connsiteY0" fmla="*/ 358 h 648048"/>
              <a:gd name="connsiteX1" fmla="*/ 2857510 w 3001526"/>
              <a:gd name="connsiteY1" fmla="*/ 0 h 648048"/>
              <a:gd name="connsiteX2" fmla="*/ 3001526 w 3001526"/>
              <a:gd name="connsiteY2" fmla="*/ 324013 h 648048"/>
              <a:gd name="connsiteX3" fmla="*/ 2857510 w 3001526"/>
              <a:gd name="connsiteY3" fmla="*/ 648048 h 648048"/>
              <a:gd name="connsiteX4" fmla="*/ 0 w 3001526"/>
              <a:gd name="connsiteY4" fmla="*/ 648048 h 648048"/>
              <a:gd name="connsiteX5" fmla="*/ 0 w 3001526"/>
              <a:gd name="connsiteY5" fmla="*/ 358 h 648048"/>
              <a:gd name="connsiteX0" fmla="*/ 292831 w 3001526"/>
              <a:gd name="connsiteY0" fmla="*/ 358 h 648048"/>
              <a:gd name="connsiteX1" fmla="*/ 2857510 w 3001526"/>
              <a:gd name="connsiteY1" fmla="*/ 0 h 648048"/>
              <a:gd name="connsiteX2" fmla="*/ 3001526 w 3001526"/>
              <a:gd name="connsiteY2" fmla="*/ 324013 h 648048"/>
              <a:gd name="connsiteX3" fmla="*/ 2857510 w 3001526"/>
              <a:gd name="connsiteY3" fmla="*/ 648048 h 648048"/>
              <a:gd name="connsiteX4" fmla="*/ 0 w 3001526"/>
              <a:gd name="connsiteY4" fmla="*/ 648048 h 648048"/>
              <a:gd name="connsiteX5" fmla="*/ 292831 w 3001526"/>
              <a:gd name="connsiteY5" fmla="*/ 358 h 648048"/>
              <a:gd name="connsiteX0" fmla="*/ 0 w 2708695"/>
              <a:gd name="connsiteY0" fmla="*/ 358 h 648048"/>
              <a:gd name="connsiteX1" fmla="*/ 2564679 w 2708695"/>
              <a:gd name="connsiteY1" fmla="*/ 0 h 648048"/>
              <a:gd name="connsiteX2" fmla="*/ 2708695 w 2708695"/>
              <a:gd name="connsiteY2" fmla="*/ 324013 h 648048"/>
              <a:gd name="connsiteX3" fmla="*/ 2564679 w 2708695"/>
              <a:gd name="connsiteY3" fmla="*/ 648048 h 648048"/>
              <a:gd name="connsiteX4" fmla="*/ 0 w 2708695"/>
              <a:gd name="connsiteY4" fmla="*/ 648048 h 648048"/>
              <a:gd name="connsiteX5" fmla="*/ 0 w 2708695"/>
              <a:gd name="connsiteY5" fmla="*/ 358 h 648048"/>
              <a:gd name="connsiteX0" fmla="*/ 73208 w 2708695"/>
              <a:gd name="connsiteY0" fmla="*/ 358 h 648048"/>
              <a:gd name="connsiteX1" fmla="*/ 2564679 w 2708695"/>
              <a:gd name="connsiteY1" fmla="*/ 0 h 648048"/>
              <a:gd name="connsiteX2" fmla="*/ 2708695 w 2708695"/>
              <a:gd name="connsiteY2" fmla="*/ 324013 h 648048"/>
              <a:gd name="connsiteX3" fmla="*/ 2564679 w 2708695"/>
              <a:gd name="connsiteY3" fmla="*/ 648048 h 648048"/>
              <a:gd name="connsiteX4" fmla="*/ 0 w 2708695"/>
              <a:gd name="connsiteY4" fmla="*/ 648048 h 648048"/>
              <a:gd name="connsiteX5" fmla="*/ 73208 w 2708695"/>
              <a:gd name="connsiteY5" fmla="*/ 358 h 648048"/>
              <a:gd name="connsiteX0" fmla="*/ 0 w 2635487"/>
              <a:gd name="connsiteY0" fmla="*/ 358 h 648048"/>
              <a:gd name="connsiteX1" fmla="*/ 2491471 w 2635487"/>
              <a:gd name="connsiteY1" fmla="*/ 0 h 648048"/>
              <a:gd name="connsiteX2" fmla="*/ 2635487 w 2635487"/>
              <a:gd name="connsiteY2" fmla="*/ 324013 h 648048"/>
              <a:gd name="connsiteX3" fmla="*/ 2491471 w 2635487"/>
              <a:gd name="connsiteY3" fmla="*/ 648048 h 648048"/>
              <a:gd name="connsiteX4" fmla="*/ 0 w 2635487"/>
              <a:gd name="connsiteY4" fmla="*/ 648048 h 648048"/>
              <a:gd name="connsiteX5" fmla="*/ 0 w 2635487"/>
              <a:gd name="connsiteY5" fmla="*/ 358 h 648048"/>
              <a:gd name="connsiteX0" fmla="*/ 0 w 2782608"/>
              <a:gd name="connsiteY0" fmla="*/ 358 h 648048"/>
              <a:gd name="connsiteX1" fmla="*/ 2638592 w 2782608"/>
              <a:gd name="connsiteY1" fmla="*/ 0 h 648048"/>
              <a:gd name="connsiteX2" fmla="*/ 2782608 w 2782608"/>
              <a:gd name="connsiteY2" fmla="*/ 324013 h 648048"/>
              <a:gd name="connsiteX3" fmla="*/ 2638592 w 2782608"/>
              <a:gd name="connsiteY3" fmla="*/ 648048 h 648048"/>
              <a:gd name="connsiteX4" fmla="*/ 147121 w 2782608"/>
              <a:gd name="connsiteY4" fmla="*/ 648048 h 648048"/>
              <a:gd name="connsiteX5" fmla="*/ 0 w 2782608"/>
              <a:gd name="connsiteY5" fmla="*/ 358 h 648048"/>
              <a:gd name="connsiteX0" fmla="*/ 0 w 2782608"/>
              <a:gd name="connsiteY0" fmla="*/ 358 h 648048"/>
              <a:gd name="connsiteX1" fmla="*/ 2638592 w 2782608"/>
              <a:gd name="connsiteY1" fmla="*/ 0 h 648048"/>
              <a:gd name="connsiteX2" fmla="*/ 2782608 w 2782608"/>
              <a:gd name="connsiteY2" fmla="*/ 324013 h 648048"/>
              <a:gd name="connsiteX3" fmla="*/ 2638592 w 2782608"/>
              <a:gd name="connsiteY3" fmla="*/ 648048 h 648048"/>
              <a:gd name="connsiteX4" fmla="*/ 0 w 2782608"/>
              <a:gd name="connsiteY4" fmla="*/ 648048 h 648048"/>
              <a:gd name="connsiteX5" fmla="*/ 0 w 2782608"/>
              <a:gd name="connsiteY5" fmla="*/ 358 h 648048"/>
              <a:gd name="connsiteX0" fmla="*/ 0 w 2929024"/>
              <a:gd name="connsiteY0" fmla="*/ 358 h 648048"/>
              <a:gd name="connsiteX1" fmla="*/ 2785008 w 2929024"/>
              <a:gd name="connsiteY1" fmla="*/ 0 h 648048"/>
              <a:gd name="connsiteX2" fmla="*/ 2929024 w 2929024"/>
              <a:gd name="connsiteY2" fmla="*/ 324013 h 648048"/>
              <a:gd name="connsiteX3" fmla="*/ 2785008 w 2929024"/>
              <a:gd name="connsiteY3" fmla="*/ 648048 h 648048"/>
              <a:gd name="connsiteX4" fmla="*/ 146416 w 2929024"/>
              <a:gd name="connsiteY4" fmla="*/ 648048 h 648048"/>
              <a:gd name="connsiteX5" fmla="*/ 0 w 2929024"/>
              <a:gd name="connsiteY5" fmla="*/ 358 h 648048"/>
              <a:gd name="connsiteX0" fmla="*/ 0 w 2929024"/>
              <a:gd name="connsiteY0" fmla="*/ 358 h 648048"/>
              <a:gd name="connsiteX1" fmla="*/ 2785008 w 2929024"/>
              <a:gd name="connsiteY1" fmla="*/ 0 h 648048"/>
              <a:gd name="connsiteX2" fmla="*/ 2929024 w 2929024"/>
              <a:gd name="connsiteY2" fmla="*/ 324013 h 648048"/>
              <a:gd name="connsiteX3" fmla="*/ 2785008 w 2929024"/>
              <a:gd name="connsiteY3" fmla="*/ 648048 h 648048"/>
              <a:gd name="connsiteX4" fmla="*/ 0 w 2929024"/>
              <a:gd name="connsiteY4" fmla="*/ 648048 h 648048"/>
              <a:gd name="connsiteX5" fmla="*/ 0 w 2929024"/>
              <a:gd name="connsiteY5" fmla="*/ 358 h 648048"/>
              <a:gd name="connsiteX0" fmla="*/ 0 w 2929024"/>
              <a:gd name="connsiteY0" fmla="*/ 0 h 647690"/>
              <a:gd name="connsiteX1" fmla="*/ 2709400 w 2929024"/>
              <a:gd name="connsiteY1" fmla="*/ 0 h 647690"/>
              <a:gd name="connsiteX2" fmla="*/ 2929024 w 2929024"/>
              <a:gd name="connsiteY2" fmla="*/ 323655 h 647690"/>
              <a:gd name="connsiteX3" fmla="*/ 2785008 w 2929024"/>
              <a:gd name="connsiteY3" fmla="*/ 647690 h 647690"/>
              <a:gd name="connsiteX4" fmla="*/ 0 w 2929024"/>
              <a:gd name="connsiteY4" fmla="*/ 647690 h 647690"/>
              <a:gd name="connsiteX5" fmla="*/ 0 w 2929024"/>
              <a:gd name="connsiteY5" fmla="*/ 0 h 647690"/>
              <a:gd name="connsiteX0" fmla="*/ 0 w 2929024"/>
              <a:gd name="connsiteY0" fmla="*/ 0 h 647690"/>
              <a:gd name="connsiteX1" fmla="*/ 2709400 w 2929024"/>
              <a:gd name="connsiteY1" fmla="*/ 0 h 647690"/>
              <a:gd name="connsiteX2" fmla="*/ 2929024 w 2929024"/>
              <a:gd name="connsiteY2" fmla="*/ 323655 h 647690"/>
              <a:gd name="connsiteX3" fmla="*/ 2709400 w 2929024"/>
              <a:gd name="connsiteY3" fmla="*/ 647690 h 647690"/>
              <a:gd name="connsiteX4" fmla="*/ 0 w 2929024"/>
              <a:gd name="connsiteY4" fmla="*/ 647690 h 647690"/>
              <a:gd name="connsiteX5" fmla="*/ 0 w 2929024"/>
              <a:gd name="connsiteY5" fmla="*/ 0 h 647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29024" h="647690">
                <a:moveTo>
                  <a:pt x="0" y="0"/>
                </a:moveTo>
                <a:lnTo>
                  <a:pt x="2709400" y="0"/>
                </a:lnTo>
                <a:lnTo>
                  <a:pt x="2929024" y="323655"/>
                </a:lnTo>
                <a:lnTo>
                  <a:pt x="2709400" y="647690"/>
                </a:lnTo>
                <a:lnTo>
                  <a:pt x="0" y="64769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t" anchorCtr="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smtClean="0">
                <a:solidFill>
                  <a:schemeClr val="bg1"/>
                </a:solidFill>
                <a:latin typeface="Arial" pitchFamily="34" charset="0"/>
              </a:rPr>
              <a:t>Tamaño de muestra</a:t>
            </a:r>
            <a:endParaRPr lang="en-US" sz="160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2508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Rechteck 265"/>
          <p:cNvSpPr/>
          <p:nvPr/>
        </p:nvSpPr>
        <p:spPr bwMode="gray">
          <a:xfrm>
            <a:off x="3275856" y="843558"/>
            <a:ext cx="5534356" cy="1872208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graphicFrame>
        <p:nvGraphicFramePr>
          <p:cNvPr id="62" name="Diagramm 971"/>
          <p:cNvGraphicFramePr/>
          <p:nvPr>
            <p:extLst>
              <p:ext uri="{D42A27DB-BD31-4B8C-83A1-F6EECF244321}">
                <p14:modId xmlns:p14="http://schemas.microsoft.com/office/powerpoint/2010/main" val="2756551266"/>
              </p:ext>
            </p:extLst>
          </p:nvPr>
        </p:nvGraphicFramePr>
        <p:xfrm>
          <a:off x="3275856" y="555526"/>
          <a:ext cx="5472608" cy="2016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" name="Objekt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438250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5720" y="195419"/>
            <a:ext cx="6408449" cy="576105"/>
          </a:xfrm>
        </p:spPr>
        <p:txBody>
          <a:bodyPr/>
          <a:lstStyle/>
          <a:p>
            <a:r>
              <a:rPr lang="en-US" dirty="0" err="1" smtClean="0"/>
              <a:t>Descripción</a:t>
            </a:r>
            <a:r>
              <a:rPr lang="en-US" dirty="0" smtClean="0"/>
              <a:t> de la </a:t>
            </a:r>
            <a:r>
              <a:rPr lang="en-US" dirty="0" err="1" smtClean="0"/>
              <a:t>muestra</a:t>
            </a:r>
            <a:r>
              <a:rPr lang="en-US" dirty="0" smtClean="0"/>
              <a:t> </a:t>
            </a:r>
            <a:r>
              <a:rPr lang="en-US" dirty="0" err="1" smtClean="0"/>
              <a:t>ponderada</a:t>
            </a:r>
            <a:endParaRPr lang="en-US" dirty="0"/>
          </a:p>
        </p:txBody>
      </p:sp>
      <p:sp>
        <p:nvSpPr>
          <p:cNvPr id="248" name="Rechteck 501"/>
          <p:cNvSpPr/>
          <p:nvPr/>
        </p:nvSpPr>
        <p:spPr bwMode="gray">
          <a:xfrm>
            <a:off x="285720" y="843559"/>
            <a:ext cx="2734366" cy="1872207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250" name="Textfeld 173"/>
          <p:cNvSpPr txBox="1"/>
          <p:nvPr/>
        </p:nvSpPr>
        <p:spPr bwMode="gray">
          <a:xfrm>
            <a:off x="1798934" y="2390238"/>
            <a:ext cx="938810" cy="433403"/>
          </a:xfrm>
          <a:prstGeom prst="rect">
            <a:avLst/>
          </a:prstGeom>
          <a:noFill/>
        </p:spPr>
        <p:txBody>
          <a:bodyPr wrap="square" lIns="144000" tIns="72000" rIns="144000" bIns="0" rtlCol="0" anchor="t" anchorCtr="0">
            <a:noAutofit/>
          </a:bodyPr>
          <a:lstStyle/>
          <a:p>
            <a:pPr lvl="0">
              <a:lnSpc>
                <a:spcPct val="90000"/>
              </a:lnSpc>
              <a:spcAft>
                <a:spcPts val="300"/>
              </a:spcAft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Hombres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1" name="Textfeld 174"/>
          <p:cNvSpPr txBox="1"/>
          <p:nvPr/>
        </p:nvSpPr>
        <p:spPr bwMode="gray">
          <a:xfrm>
            <a:off x="142844" y="2355726"/>
            <a:ext cx="1296000" cy="323899"/>
          </a:xfrm>
          <a:prstGeom prst="rect">
            <a:avLst/>
          </a:prstGeom>
          <a:noFill/>
        </p:spPr>
        <p:txBody>
          <a:bodyPr wrap="square" lIns="144000" tIns="72000" rIns="144000" bIns="0" rtlCol="0" anchor="t" anchorCtr="0">
            <a:noAutofit/>
          </a:bodyPr>
          <a:lstStyle/>
          <a:p>
            <a:pPr lvl="0" algn="r">
              <a:lnSpc>
                <a:spcPct val="90000"/>
              </a:lnSpc>
              <a:spcAft>
                <a:spcPts val="300"/>
              </a:spcAft>
            </a:pP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</a:rPr>
              <a:t>Mujeres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2" name="Oval 22"/>
          <p:cNvSpPr>
            <a:spLocks noChangeArrowheads="1"/>
          </p:cNvSpPr>
          <p:nvPr/>
        </p:nvSpPr>
        <p:spPr bwMode="gray">
          <a:xfrm>
            <a:off x="1979712" y="1275605"/>
            <a:ext cx="452619" cy="781796"/>
          </a:xfrm>
          <a:custGeom>
            <a:avLst/>
            <a:gdLst/>
            <a:ahLst/>
            <a:cxnLst/>
            <a:rect l="l" t="t" r="r" b="b"/>
            <a:pathLst>
              <a:path w="248606" h="495932">
                <a:moveTo>
                  <a:pt x="85781" y="92257"/>
                </a:moveTo>
                <a:cubicBezTo>
                  <a:pt x="85781" y="92257"/>
                  <a:pt x="85781" y="92257"/>
                  <a:pt x="124412" y="92257"/>
                </a:cubicBezTo>
                <a:cubicBezTo>
                  <a:pt x="124412" y="92257"/>
                  <a:pt x="124412" y="92257"/>
                  <a:pt x="126283" y="92257"/>
                </a:cubicBezTo>
                <a:lnTo>
                  <a:pt x="139386" y="92257"/>
                </a:lnTo>
                <a:cubicBezTo>
                  <a:pt x="139386" y="92257"/>
                  <a:pt x="139386" y="92257"/>
                  <a:pt x="162825" y="92257"/>
                </a:cubicBezTo>
                <a:cubicBezTo>
                  <a:pt x="188869" y="92257"/>
                  <a:pt x="199720" y="106369"/>
                  <a:pt x="209486" y="135677"/>
                </a:cubicBezTo>
                <a:cubicBezTo>
                  <a:pt x="209486" y="135677"/>
                  <a:pt x="209486" y="135677"/>
                  <a:pt x="247466" y="253998"/>
                </a:cubicBezTo>
                <a:cubicBezTo>
                  <a:pt x="255062" y="276793"/>
                  <a:pt x="222508" y="287649"/>
                  <a:pt x="214912" y="264853"/>
                </a:cubicBezTo>
                <a:cubicBezTo>
                  <a:pt x="214912" y="264853"/>
                  <a:pt x="214912" y="264853"/>
                  <a:pt x="179102" y="155217"/>
                </a:cubicBezTo>
                <a:cubicBezTo>
                  <a:pt x="174762" y="155217"/>
                  <a:pt x="174762" y="155217"/>
                  <a:pt x="174762" y="333023"/>
                </a:cubicBezTo>
                <a:cubicBezTo>
                  <a:pt x="174762" y="333023"/>
                  <a:pt x="174762" y="333023"/>
                  <a:pt x="174762" y="471099"/>
                </a:cubicBezTo>
                <a:cubicBezTo>
                  <a:pt x="174762" y="504750"/>
                  <a:pt x="128101" y="503665"/>
                  <a:pt x="127016" y="471099"/>
                </a:cubicBezTo>
                <a:cubicBezTo>
                  <a:pt x="127016" y="471099"/>
                  <a:pt x="127016" y="471099"/>
                  <a:pt x="127016" y="287649"/>
                </a:cubicBezTo>
                <a:cubicBezTo>
                  <a:pt x="127016" y="287649"/>
                  <a:pt x="127016" y="287649"/>
                  <a:pt x="126202" y="287649"/>
                </a:cubicBezTo>
                <a:lnTo>
                  <a:pt x="120505" y="287649"/>
                </a:lnTo>
                <a:cubicBezTo>
                  <a:pt x="120505" y="287649"/>
                  <a:pt x="120505" y="287649"/>
                  <a:pt x="120505" y="471099"/>
                </a:cubicBezTo>
                <a:cubicBezTo>
                  <a:pt x="120505" y="503665"/>
                  <a:pt x="73844" y="504750"/>
                  <a:pt x="73844" y="471099"/>
                </a:cubicBezTo>
                <a:cubicBezTo>
                  <a:pt x="73844" y="471099"/>
                  <a:pt x="73844" y="471099"/>
                  <a:pt x="73844" y="155217"/>
                </a:cubicBezTo>
                <a:cubicBezTo>
                  <a:pt x="69504" y="155217"/>
                  <a:pt x="69504" y="155217"/>
                  <a:pt x="33694" y="264853"/>
                </a:cubicBezTo>
                <a:cubicBezTo>
                  <a:pt x="26098" y="287649"/>
                  <a:pt x="-6456" y="276793"/>
                  <a:pt x="1140" y="253998"/>
                </a:cubicBezTo>
                <a:cubicBezTo>
                  <a:pt x="1140" y="253998"/>
                  <a:pt x="1140" y="253998"/>
                  <a:pt x="39120" y="135677"/>
                </a:cubicBezTo>
                <a:cubicBezTo>
                  <a:pt x="48886" y="106369"/>
                  <a:pt x="59737" y="92257"/>
                  <a:pt x="85781" y="92257"/>
                </a:cubicBezTo>
                <a:close/>
                <a:moveTo>
                  <a:pt x="124258" y="0"/>
                </a:moveTo>
                <a:cubicBezTo>
                  <a:pt x="146613" y="0"/>
                  <a:pt x="164736" y="18123"/>
                  <a:pt x="164736" y="40478"/>
                </a:cubicBezTo>
                <a:cubicBezTo>
                  <a:pt x="164736" y="62833"/>
                  <a:pt x="146613" y="80956"/>
                  <a:pt x="124258" y="80956"/>
                </a:cubicBezTo>
                <a:cubicBezTo>
                  <a:pt x="101903" y="80956"/>
                  <a:pt x="83780" y="62833"/>
                  <a:pt x="83780" y="40478"/>
                </a:cubicBezTo>
                <a:cubicBezTo>
                  <a:pt x="83780" y="18123"/>
                  <a:pt x="101903" y="0"/>
                  <a:pt x="124258" y="0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Oval 8"/>
          <p:cNvSpPr>
            <a:spLocks noChangeArrowheads="1"/>
          </p:cNvSpPr>
          <p:nvPr/>
        </p:nvSpPr>
        <p:spPr bwMode="gray">
          <a:xfrm>
            <a:off x="883165" y="1275606"/>
            <a:ext cx="376467" cy="794764"/>
          </a:xfrm>
          <a:custGeom>
            <a:avLst/>
            <a:gdLst/>
            <a:ahLst/>
            <a:cxnLst/>
            <a:rect l="l" t="t" r="r" b="b"/>
            <a:pathLst>
              <a:path w="227685" h="497559">
                <a:moveTo>
                  <a:pt x="85908" y="92067"/>
                </a:moveTo>
                <a:cubicBezTo>
                  <a:pt x="141893" y="92067"/>
                  <a:pt x="141893" y="92067"/>
                  <a:pt x="141893" y="92067"/>
                </a:cubicBezTo>
                <a:cubicBezTo>
                  <a:pt x="170221" y="92736"/>
                  <a:pt x="186949" y="116381"/>
                  <a:pt x="191857" y="129541"/>
                </a:cubicBezTo>
                <a:cubicBezTo>
                  <a:pt x="226652" y="245308"/>
                  <a:pt x="226652" y="245308"/>
                  <a:pt x="226652" y="245308"/>
                </a:cubicBezTo>
                <a:cubicBezTo>
                  <a:pt x="233790" y="270514"/>
                  <a:pt x="201894" y="280998"/>
                  <a:pt x="194310" y="256684"/>
                </a:cubicBezTo>
                <a:cubicBezTo>
                  <a:pt x="163083" y="149393"/>
                  <a:pt x="163083" y="149393"/>
                  <a:pt x="163083" y="149393"/>
                </a:cubicBezTo>
                <a:lnTo>
                  <a:pt x="154496" y="149393"/>
                </a:lnTo>
                <a:cubicBezTo>
                  <a:pt x="153269" y="149393"/>
                  <a:pt x="153269" y="149393"/>
                  <a:pt x="153269" y="149393"/>
                </a:cubicBezTo>
                <a:cubicBezTo>
                  <a:pt x="207916" y="337655"/>
                  <a:pt x="207916" y="337655"/>
                  <a:pt x="207916" y="337655"/>
                </a:cubicBezTo>
                <a:cubicBezTo>
                  <a:pt x="156838" y="337655"/>
                  <a:pt x="156838" y="337655"/>
                  <a:pt x="156838" y="337655"/>
                </a:cubicBezTo>
                <a:cubicBezTo>
                  <a:pt x="156838" y="478405"/>
                  <a:pt x="156838" y="478405"/>
                  <a:pt x="156838" y="478405"/>
                </a:cubicBezTo>
                <a:cubicBezTo>
                  <a:pt x="157284" y="504056"/>
                  <a:pt x="119365" y="503833"/>
                  <a:pt x="119588" y="478405"/>
                </a:cubicBezTo>
                <a:cubicBezTo>
                  <a:pt x="119588" y="337655"/>
                  <a:pt x="119588" y="337655"/>
                  <a:pt x="119588" y="337655"/>
                </a:cubicBezTo>
                <a:lnTo>
                  <a:pt x="108436" y="337655"/>
                </a:lnTo>
                <a:cubicBezTo>
                  <a:pt x="108436" y="478405"/>
                  <a:pt x="108436" y="478405"/>
                  <a:pt x="108436" y="478405"/>
                </a:cubicBezTo>
                <a:cubicBezTo>
                  <a:pt x="108213" y="504056"/>
                  <a:pt x="70071" y="504056"/>
                  <a:pt x="69625" y="478405"/>
                </a:cubicBezTo>
                <a:cubicBezTo>
                  <a:pt x="69625" y="337655"/>
                  <a:pt x="69625" y="337655"/>
                  <a:pt x="69625" y="337655"/>
                </a:cubicBezTo>
                <a:cubicBezTo>
                  <a:pt x="19885" y="337655"/>
                  <a:pt x="19885" y="337655"/>
                  <a:pt x="19885" y="337655"/>
                </a:cubicBezTo>
                <a:cubicBezTo>
                  <a:pt x="73417" y="149393"/>
                  <a:pt x="73417" y="149393"/>
                  <a:pt x="73417" y="149393"/>
                </a:cubicBezTo>
                <a:lnTo>
                  <a:pt x="65805" y="149393"/>
                </a:lnTo>
                <a:cubicBezTo>
                  <a:pt x="64718" y="149393"/>
                  <a:pt x="64718" y="149393"/>
                  <a:pt x="64718" y="149393"/>
                </a:cubicBezTo>
                <a:cubicBezTo>
                  <a:pt x="33491" y="256684"/>
                  <a:pt x="33491" y="256684"/>
                  <a:pt x="33491" y="256684"/>
                </a:cubicBezTo>
                <a:cubicBezTo>
                  <a:pt x="25684" y="280329"/>
                  <a:pt x="-6435" y="270737"/>
                  <a:pt x="1149" y="245308"/>
                </a:cubicBezTo>
                <a:cubicBezTo>
                  <a:pt x="36168" y="129541"/>
                  <a:pt x="36168" y="129541"/>
                  <a:pt x="36168" y="129541"/>
                </a:cubicBezTo>
                <a:cubicBezTo>
                  <a:pt x="40182" y="116158"/>
                  <a:pt x="56911" y="92736"/>
                  <a:pt x="85908" y="92067"/>
                </a:cubicBezTo>
                <a:close/>
                <a:moveTo>
                  <a:pt x="113914" y="0"/>
                </a:moveTo>
                <a:cubicBezTo>
                  <a:pt x="136261" y="0"/>
                  <a:pt x="154377" y="18116"/>
                  <a:pt x="154377" y="40463"/>
                </a:cubicBezTo>
                <a:cubicBezTo>
                  <a:pt x="154377" y="62810"/>
                  <a:pt x="136261" y="80926"/>
                  <a:pt x="113914" y="80926"/>
                </a:cubicBezTo>
                <a:cubicBezTo>
                  <a:pt x="91567" y="80926"/>
                  <a:pt x="73451" y="62810"/>
                  <a:pt x="73451" y="40463"/>
                </a:cubicBezTo>
                <a:cubicBezTo>
                  <a:pt x="73451" y="18116"/>
                  <a:pt x="91567" y="0"/>
                  <a:pt x="113914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Textfeld 178"/>
          <p:cNvSpPr txBox="1"/>
          <p:nvPr/>
        </p:nvSpPr>
        <p:spPr bwMode="gray">
          <a:xfrm>
            <a:off x="323528" y="1923023"/>
            <a:ext cx="1476828" cy="504711"/>
          </a:xfrm>
          <a:prstGeom prst="rect">
            <a:avLst/>
          </a:prstGeom>
          <a:noFill/>
        </p:spPr>
        <p:txBody>
          <a:bodyPr wrap="square" lIns="144000" tIns="108000" rIns="468000" bIns="0" rtlCol="0" anchor="b" anchorCtr="0">
            <a:noAutofit/>
          </a:bodyPr>
          <a:lstStyle/>
          <a:p>
            <a:pPr lvl="0" algn="r">
              <a:lnSpc>
                <a:spcPct val="90000"/>
              </a:lnSpc>
              <a:spcAft>
                <a:spcPts val="300"/>
              </a:spcAft>
            </a:pPr>
            <a:r>
              <a:rPr lang="en-US" sz="2000" b="1" dirty="0" smtClean="0">
                <a:solidFill>
                  <a:schemeClr val="accent1"/>
                </a:solidFill>
              </a:rPr>
              <a:t>50%</a:t>
            </a:r>
            <a:endParaRPr lang="en-US" sz="2000" b="1" dirty="0">
              <a:solidFill>
                <a:schemeClr val="accent1"/>
              </a:solidFill>
            </a:endParaRPr>
          </a:p>
        </p:txBody>
      </p:sp>
      <p:sp>
        <p:nvSpPr>
          <p:cNvPr id="459" name="Textfeld 1025"/>
          <p:cNvSpPr txBox="1"/>
          <p:nvPr/>
        </p:nvSpPr>
        <p:spPr bwMode="gray">
          <a:xfrm>
            <a:off x="3286116" y="843560"/>
            <a:ext cx="5286412" cy="518191"/>
          </a:xfrm>
          <a:prstGeom prst="rect">
            <a:avLst/>
          </a:prstGeom>
          <a:noFill/>
        </p:spPr>
        <p:txBody>
          <a:bodyPr wrap="square" lIns="144000" tIns="46800" rIns="108000" bIns="0" rtlCol="0">
            <a:noAutofit/>
          </a:bodyPr>
          <a:lstStyle>
            <a:defPPr>
              <a:defRPr lang="en-US"/>
            </a:defPPr>
            <a:lvl1pPr lvl="0">
              <a:spcAft>
                <a:spcPts val="300"/>
              </a:spcAft>
              <a:defRPr sz="2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>
              <a:tabLst>
                <a:tab pos="358775" algn="l"/>
              </a:tabLst>
            </a:pPr>
            <a:r>
              <a:rPr lang="en-US" sz="16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dad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Textfeld 1025"/>
          <p:cNvSpPr txBox="1"/>
          <p:nvPr/>
        </p:nvSpPr>
        <p:spPr bwMode="gray">
          <a:xfrm>
            <a:off x="251520" y="843558"/>
            <a:ext cx="749908" cy="518191"/>
          </a:xfrm>
          <a:prstGeom prst="rect">
            <a:avLst/>
          </a:prstGeom>
          <a:noFill/>
        </p:spPr>
        <p:txBody>
          <a:bodyPr wrap="square" lIns="144000" tIns="46800" rIns="108000" bIns="0" rtlCol="0">
            <a:noAutofit/>
          </a:bodyPr>
          <a:lstStyle>
            <a:defPPr>
              <a:defRPr lang="en-US"/>
            </a:defPPr>
            <a:lvl1pPr lvl="0">
              <a:spcAft>
                <a:spcPts val="300"/>
              </a:spcAft>
              <a:defRPr sz="2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>
              <a:tabLst>
                <a:tab pos="358775" algn="l"/>
              </a:tabLst>
            </a:pPr>
            <a:r>
              <a:rPr lang="en-US" sz="16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exo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918775" y="43936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CL" sz="11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giones</a:t>
            </a:r>
          </a:p>
        </p:txBody>
      </p:sp>
      <p:sp>
        <p:nvSpPr>
          <p:cNvPr id="31" name="Textfeld 1025"/>
          <p:cNvSpPr txBox="1"/>
          <p:nvPr/>
        </p:nvSpPr>
        <p:spPr bwMode="gray">
          <a:xfrm>
            <a:off x="272434" y="4227934"/>
            <a:ext cx="893924" cy="360040"/>
          </a:xfrm>
          <a:prstGeom prst="rect">
            <a:avLst/>
          </a:prstGeom>
          <a:noFill/>
        </p:spPr>
        <p:txBody>
          <a:bodyPr wrap="square" lIns="144000" tIns="46800" rIns="108000" bIns="0" rtlCol="0">
            <a:noAutofit/>
          </a:bodyPr>
          <a:lstStyle>
            <a:defPPr>
              <a:defRPr lang="en-US"/>
            </a:defPPr>
            <a:lvl1pPr lvl="0">
              <a:spcAft>
                <a:spcPts val="300"/>
              </a:spcAft>
              <a:defRPr sz="2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>
              <a:tabLst>
                <a:tab pos="358775" algn="l"/>
              </a:tabLst>
            </a:pP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4" name="Rechteck 265"/>
          <p:cNvSpPr/>
          <p:nvPr/>
        </p:nvSpPr>
        <p:spPr bwMode="gray">
          <a:xfrm>
            <a:off x="3275856" y="2886478"/>
            <a:ext cx="5534356" cy="1872208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graphicFrame>
        <p:nvGraphicFramePr>
          <p:cNvPr id="91" name="Diagramm 971"/>
          <p:cNvGraphicFramePr/>
          <p:nvPr>
            <p:extLst>
              <p:ext uri="{D42A27DB-BD31-4B8C-83A1-F6EECF244321}">
                <p14:modId xmlns:p14="http://schemas.microsoft.com/office/powerpoint/2010/main" val="4008685553"/>
              </p:ext>
            </p:extLst>
          </p:nvPr>
        </p:nvGraphicFramePr>
        <p:xfrm>
          <a:off x="3286116" y="2886478"/>
          <a:ext cx="5462348" cy="18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2" name="Textfeld 1025"/>
          <p:cNvSpPr txBox="1"/>
          <p:nvPr/>
        </p:nvSpPr>
        <p:spPr bwMode="gray">
          <a:xfrm>
            <a:off x="3203848" y="2917655"/>
            <a:ext cx="8286808" cy="518191"/>
          </a:xfrm>
          <a:prstGeom prst="rect">
            <a:avLst/>
          </a:prstGeom>
          <a:noFill/>
        </p:spPr>
        <p:txBody>
          <a:bodyPr wrap="square" lIns="144000" tIns="46800" rIns="108000" bIns="0" rtlCol="0">
            <a:noAutofit/>
          </a:bodyPr>
          <a:lstStyle>
            <a:defPPr>
              <a:defRPr lang="en-US"/>
            </a:defPPr>
            <a:lvl1pPr lvl="0">
              <a:spcAft>
                <a:spcPts val="300"/>
              </a:spcAft>
              <a:defRPr sz="2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>
              <a:tabLst>
                <a:tab pos="358775" algn="l"/>
              </a:tabLst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SE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Textfeld 178"/>
          <p:cNvSpPr txBox="1"/>
          <p:nvPr/>
        </p:nvSpPr>
        <p:spPr bwMode="gray">
          <a:xfrm>
            <a:off x="1512324" y="1923023"/>
            <a:ext cx="1476828" cy="504711"/>
          </a:xfrm>
          <a:prstGeom prst="rect">
            <a:avLst/>
          </a:prstGeom>
          <a:noFill/>
        </p:spPr>
        <p:txBody>
          <a:bodyPr wrap="square" lIns="144000" tIns="108000" rIns="468000" bIns="0" rtlCol="0" anchor="b" anchorCtr="0">
            <a:noAutofit/>
          </a:bodyPr>
          <a:lstStyle/>
          <a:p>
            <a:pPr lvl="0" algn="r">
              <a:lnSpc>
                <a:spcPct val="90000"/>
              </a:lnSpc>
              <a:spcAft>
                <a:spcPts val="300"/>
              </a:spcAft>
            </a:pPr>
            <a:r>
              <a:rPr lang="en-US" sz="2000" b="1" dirty="0" smtClean="0">
                <a:solidFill>
                  <a:schemeClr val="accent2"/>
                </a:solidFill>
              </a:rPr>
              <a:t>50%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sp>
        <p:nvSpPr>
          <p:cNvPr id="23" name="Rechteck 501"/>
          <p:cNvSpPr/>
          <p:nvPr/>
        </p:nvSpPr>
        <p:spPr bwMode="gray">
          <a:xfrm>
            <a:off x="285720" y="2886478"/>
            <a:ext cx="2734366" cy="1872209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24" name="Textfeld 1025"/>
          <p:cNvSpPr txBox="1"/>
          <p:nvPr/>
        </p:nvSpPr>
        <p:spPr bwMode="gray">
          <a:xfrm>
            <a:off x="251520" y="2903281"/>
            <a:ext cx="749908" cy="518191"/>
          </a:xfrm>
          <a:prstGeom prst="rect">
            <a:avLst/>
          </a:prstGeom>
          <a:noFill/>
        </p:spPr>
        <p:txBody>
          <a:bodyPr wrap="square" lIns="144000" tIns="46800" rIns="108000" bIns="0" rtlCol="0">
            <a:noAutofit/>
          </a:bodyPr>
          <a:lstStyle>
            <a:defPPr>
              <a:defRPr lang="en-US"/>
            </a:defPPr>
            <a:lvl1pPr lvl="0">
              <a:spcAft>
                <a:spcPts val="300"/>
              </a:spcAft>
              <a:defRPr sz="2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>
              <a:tabLst>
                <a:tab pos="358775" algn="l"/>
              </a:tabLst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Zona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3906907589"/>
              </p:ext>
            </p:extLst>
          </p:nvPr>
        </p:nvGraphicFramePr>
        <p:xfrm>
          <a:off x="323528" y="3290590"/>
          <a:ext cx="2543944" cy="15023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579821745"/>
      </p:ext>
    </p:extLst>
  </p:cSld>
  <p:clrMapOvr>
    <a:masterClrMapping/>
  </p:clrMapOvr>
  <p:timing>
    <p:tnLst>
      <p:par>
        <p:cTn id="1" dur="indefinite" restart="never" nodeType="tmRoot">
          <p:childTnLst>
            <p:par>
              <p:cTn id="2"/>
            </p:par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Resultados</a:t>
            </a:r>
            <a:endParaRPr lang="es-CL" dirty="0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4294967295"/>
          </p:nvPr>
        </p:nvSpPr>
        <p:spPr>
          <a:xfrm>
            <a:off x="7845425" y="4948238"/>
            <a:ext cx="1298575" cy="109537"/>
          </a:xfrm>
          <a:prstGeom prst="rect">
            <a:avLst/>
          </a:prstGeom>
        </p:spPr>
        <p:txBody>
          <a:bodyPr/>
          <a:lstStyle/>
          <a:p>
            <a:pPr algn="r"/>
            <a:fld id="{1BDBE1E8-50F2-49BA-A952-1CC1DEAA5FBD}" type="slidenum">
              <a:rPr lang="en-US" smtClean="0"/>
              <a:pPr algn="r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157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323851" y="195419"/>
            <a:ext cx="6696421" cy="864163"/>
          </a:xfrm>
        </p:spPr>
        <p:txBody>
          <a:bodyPr/>
          <a:lstStyle/>
          <a:p>
            <a:r>
              <a:rPr lang="es-CL" dirty="0" smtClean="0"/>
              <a:t>¿</a:t>
            </a:r>
            <a:r>
              <a:rPr lang="es-CL" dirty="0"/>
              <a:t>Cuál de estas cosas te gustaría que pasaran para que sintieras que tu vida es más feliz</a:t>
            </a:r>
            <a:r>
              <a:rPr lang="es-CL" dirty="0" smtClean="0"/>
              <a:t>? </a:t>
            </a:r>
            <a:r>
              <a:rPr lang="es-CL" sz="1400" dirty="0" smtClean="0"/>
              <a:t>(respuesta múltiple)</a:t>
            </a:r>
            <a:endParaRPr lang="es-CL" sz="1400" dirty="0"/>
          </a:p>
        </p:txBody>
      </p:sp>
      <p:sp>
        <p:nvSpPr>
          <p:cNvPr id="2" name="1 Marcador de texto"/>
          <p:cNvSpPr>
            <a:spLocks noGrp="1"/>
          </p:cNvSpPr>
          <p:nvPr>
            <p:ph type="body" sz="quarter" idx="4294967295"/>
          </p:nvPr>
        </p:nvSpPr>
        <p:spPr>
          <a:xfrm>
            <a:off x="323528" y="4731990"/>
            <a:ext cx="8496300" cy="144462"/>
          </a:xfrm>
        </p:spPr>
        <p:txBody>
          <a:bodyPr/>
          <a:lstStyle/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graphicFrame>
        <p:nvGraphicFramePr>
          <p:cNvPr id="6" name="5 Gráfico"/>
          <p:cNvGraphicFramePr/>
          <p:nvPr>
            <p:extLst>
              <p:ext uri="{D42A27DB-BD31-4B8C-83A1-F6EECF244321}">
                <p14:modId xmlns:p14="http://schemas.microsoft.com/office/powerpoint/2010/main" val="1347185530"/>
              </p:ext>
            </p:extLst>
          </p:nvPr>
        </p:nvGraphicFramePr>
        <p:xfrm>
          <a:off x="353879" y="1131590"/>
          <a:ext cx="6096000" cy="3703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7777511"/>
              </p:ext>
            </p:extLst>
          </p:nvPr>
        </p:nvGraphicFramePr>
        <p:xfrm>
          <a:off x="6516216" y="1765258"/>
          <a:ext cx="2087184" cy="2678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5728"/>
                <a:gridCol w="695728"/>
                <a:gridCol w="695728"/>
              </a:tblGrid>
              <a:tr h="446450">
                <a:tc>
                  <a:txBody>
                    <a:bodyPr/>
                    <a:lstStyle/>
                    <a:p>
                      <a:pPr algn="ctr"/>
                      <a:r>
                        <a:rPr lang="es-CL" sz="1400" b="1" dirty="0" smtClean="0"/>
                        <a:t>18-36</a:t>
                      </a:r>
                      <a:endParaRPr lang="es-CL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b="1" dirty="0" smtClean="0"/>
                        <a:t>37-51</a:t>
                      </a:r>
                      <a:endParaRPr lang="es-CL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b="1" dirty="0" smtClean="0"/>
                        <a:t>52+</a:t>
                      </a:r>
                      <a:endParaRPr lang="es-CL" sz="1400" b="1" dirty="0"/>
                    </a:p>
                  </a:txBody>
                  <a:tcPr/>
                </a:tc>
              </a:tr>
              <a:tr h="446450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6%</a:t>
                      </a: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3%</a:t>
                      </a: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200" b="1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4%</a:t>
                      </a: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</a:tr>
              <a:tr h="446450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200" b="1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9525" marR="9525" marT="9525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7%</a:t>
                      </a:r>
                    </a:p>
                  </a:txBody>
                  <a:tcPr marL="9525" marR="9525" marT="9525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4%</a:t>
                      </a:r>
                    </a:p>
                  </a:txBody>
                  <a:tcPr marL="9525" marR="9525" marT="9525" marB="0" anchor="ctr">
                    <a:solidFill>
                      <a:schemeClr val="accent3"/>
                    </a:solidFill>
                  </a:tcPr>
                </a:tc>
              </a:tr>
              <a:tr h="446450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</a:tr>
              <a:tr h="446450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9525" marR="9525" marT="9525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9525" marR="9525" marT="9525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%</a:t>
                      </a:r>
                    </a:p>
                  </a:txBody>
                  <a:tcPr marL="9525" marR="9525" marT="9525" marB="0" anchor="ctr">
                    <a:solidFill>
                      <a:schemeClr val="accent6"/>
                    </a:solidFill>
                  </a:tcPr>
                </a:tc>
              </a:tr>
              <a:tr h="446450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sp>
        <p:nvSpPr>
          <p:cNvPr id="7" name="6 CuadroTexto"/>
          <p:cNvSpPr txBox="1"/>
          <p:nvPr/>
        </p:nvSpPr>
        <p:spPr bwMode="gray">
          <a:xfrm>
            <a:off x="6516216" y="1405962"/>
            <a:ext cx="2088232" cy="35929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sz="1600" b="1" dirty="0" smtClean="0">
                <a:solidFill>
                  <a:schemeClr val="accent1"/>
                </a:solidFill>
                <a:latin typeface="Arial"/>
              </a:rPr>
              <a:t>Diferencias por edad</a:t>
            </a:r>
          </a:p>
        </p:txBody>
      </p:sp>
    </p:spTree>
    <p:extLst>
      <p:ext uri="{BB962C8B-B14F-4D97-AF65-F5344CB8AC3E}">
        <p14:creationId xmlns:p14="http://schemas.microsoft.com/office/powerpoint/2010/main" val="234807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284262" y="627534"/>
            <a:ext cx="4071714" cy="432048"/>
          </a:xfrm>
        </p:spPr>
        <p:txBody>
          <a:bodyPr/>
          <a:lstStyle/>
          <a:p>
            <a:pPr algn="ctr"/>
            <a:r>
              <a:rPr lang="es-ES_tradnl" dirty="0" smtClean="0"/>
              <a:t>¿Tienes alguna idea, plan o sueño que quieras cumplir y tengas pendiente?</a:t>
            </a:r>
            <a:endParaRPr lang="es-CL" sz="1400" dirty="0"/>
          </a:p>
        </p:txBody>
      </p:sp>
      <p:sp>
        <p:nvSpPr>
          <p:cNvPr id="7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2" name="1 Elipse"/>
          <p:cNvSpPr/>
          <p:nvPr/>
        </p:nvSpPr>
        <p:spPr bwMode="gray">
          <a:xfrm>
            <a:off x="1314486" y="1491630"/>
            <a:ext cx="2033378" cy="203337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3200" b="1" dirty="0" smtClean="0">
                <a:solidFill>
                  <a:schemeClr val="bg1"/>
                </a:solidFill>
              </a:rPr>
              <a:t>100%</a:t>
            </a:r>
          </a:p>
        </p:txBody>
      </p:sp>
      <p:sp>
        <p:nvSpPr>
          <p:cNvPr id="4" name="3 CuadroTexto"/>
          <p:cNvSpPr txBox="1"/>
          <p:nvPr/>
        </p:nvSpPr>
        <p:spPr bwMode="gray">
          <a:xfrm>
            <a:off x="1791115" y="3579862"/>
            <a:ext cx="1080120" cy="5674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b="1" dirty="0" smtClean="0">
                <a:latin typeface="Arial"/>
              </a:rPr>
              <a:t>SI</a:t>
            </a:r>
          </a:p>
        </p:txBody>
      </p:sp>
      <p:sp>
        <p:nvSpPr>
          <p:cNvPr id="5" name="4 CuadroTexto"/>
          <p:cNvSpPr txBox="1"/>
          <p:nvPr/>
        </p:nvSpPr>
        <p:spPr bwMode="gray">
          <a:xfrm>
            <a:off x="899592" y="4083918"/>
            <a:ext cx="3024336" cy="36004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sz="1600" dirty="0">
                <a:latin typeface="Arial"/>
              </a:rPr>
              <a:t>¡</a:t>
            </a:r>
            <a:r>
              <a:rPr lang="es-CL" sz="1600" dirty="0" smtClean="0">
                <a:latin typeface="Arial"/>
              </a:rPr>
              <a:t>Todos los </a:t>
            </a:r>
            <a:r>
              <a:rPr lang="es-CL" sz="1600" dirty="0" err="1" smtClean="0">
                <a:latin typeface="Arial"/>
              </a:rPr>
              <a:t>respondentes</a:t>
            </a:r>
            <a:r>
              <a:rPr lang="es-CL" sz="1600" dirty="0">
                <a:latin typeface="Arial"/>
              </a:rPr>
              <a:t> </a:t>
            </a:r>
            <a:r>
              <a:rPr lang="es-CL" sz="1600" dirty="0" smtClean="0">
                <a:latin typeface="Arial"/>
              </a:rPr>
              <a:t>contestaron afirmativamente!</a:t>
            </a:r>
          </a:p>
        </p:txBody>
      </p:sp>
      <p:sp>
        <p:nvSpPr>
          <p:cNvPr id="6" name="5 Flecha derecha"/>
          <p:cNvSpPr/>
          <p:nvPr/>
        </p:nvSpPr>
        <p:spPr bwMode="gray">
          <a:xfrm>
            <a:off x="3722462" y="2165452"/>
            <a:ext cx="705522" cy="694330"/>
          </a:xfrm>
          <a:prstGeom prst="right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16" name="2 Título"/>
          <p:cNvSpPr txBox="1">
            <a:spLocks/>
          </p:cNvSpPr>
          <p:nvPr/>
        </p:nvSpPr>
        <p:spPr bwMode="gray">
          <a:xfrm>
            <a:off x="4657110" y="771550"/>
            <a:ext cx="4071714" cy="43204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18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s-ES_tradnl" dirty="0" smtClean="0"/>
              <a:t>¿Cuál?</a:t>
            </a:r>
            <a:endParaRPr lang="es-CL" sz="1400" dirty="0"/>
          </a:p>
        </p:txBody>
      </p:sp>
      <p:graphicFrame>
        <p:nvGraphicFramePr>
          <p:cNvPr id="17" name="16 Gráfico"/>
          <p:cNvGraphicFramePr/>
          <p:nvPr>
            <p:extLst>
              <p:ext uri="{D42A27DB-BD31-4B8C-83A1-F6EECF244321}">
                <p14:modId xmlns:p14="http://schemas.microsoft.com/office/powerpoint/2010/main" val="3658787285"/>
              </p:ext>
            </p:extLst>
          </p:nvPr>
        </p:nvGraphicFramePr>
        <p:xfrm>
          <a:off x="4380656" y="1265982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60957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355922" y="627534"/>
            <a:ext cx="6448326" cy="432048"/>
          </a:xfrm>
        </p:spPr>
        <p:txBody>
          <a:bodyPr/>
          <a:lstStyle/>
          <a:p>
            <a:r>
              <a:rPr lang="es-CL" dirty="0"/>
              <a:t>En caso de que tengas más de un sueño, ¿en qué categoría ubicarías el que es más importante para ti?</a:t>
            </a:r>
          </a:p>
        </p:txBody>
      </p:sp>
      <p:sp>
        <p:nvSpPr>
          <p:cNvPr id="7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9" name="8 Rectángulo"/>
          <p:cNvSpPr/>
          <p:nvPr/>
        </p:nvSpPr>
        <p:spPr bwMode="gray">
          <a:xfrm>
            <a:off x="323850" y="1347614"/>
            <a:ext cx="3888110" cy="86409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11" name="10 Rectángulo"/>
          <p:cNvSpPr/>
          <p:nvPr/>
        </p:nvSpPr>
        <p:spPr bwMode="gray">
          <a:xfrm>
            <a:off x="323850" y="1347614"/>
            <a:ext cx="1799878" cy="86409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 bwMode="gray">
          <a:xfrm>
            <a:off x="2195736" y="1491630"/>
            <a:ext cx="1944055" cy="7200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sz="1200" b="1" dirty="0" smtClean="0">
                <a:latin typeface="Arial"/>
              </a:rPr>
              <a:t>Empezar mi propio negocio / Independizarme con un emprendimiento</a:t>
            </a:r>
          </a:p>
        </p:txBody>
      </p:sp>
      <p:sp>
        <p:nvSpPr>
          <p:cNvPr id="18" name="Freeform 5"/>
          <p:cNvSpPr>
            <a:spLocks noEditPoints="1"/>
          </p:cNvSpPr>
          <p:nvPr/>
        </p:nvSpPr>
        <p:spPr bwMode="auto">
          <a:xfrm>
            <a:off x="578024" y="1438411"/>
            <a:ext cx="609600" cy="682501"/>
          </a:xfrm>
          <a:custGeom>
            <a:avLst/>
            <a:gdLst>
              <a:gd name="T0" fmla="*/ 80 w 318"/>
              <a:gd name="T1" fmla="*/ 88 h 357"/>
              <a:gd name="T2" fmla="*/ 36 w 318"/>
              <a:gd name="T3" fmla="*/ 44 h 357"/>
              <a:gd name="T4" fmla="*/ 80 w 318"/>
              <a:gd name="T5" fmla="*/ 0 h 357"/>
              <a:gd name="T6" fmla="*/ 125 w 318"/>
              <a:gd name="T7" fmla="*/ 44 h 357"/>
              <a:gd name="T8" fmla="*/ 80 w 318"/>
              <a:gd name="T9" fmla="*/ 88 h 357"/>
              <a:gd name="T10" fmla="*/ 118 w 318"/>
              <a:gd name="T11" fmla="*/ 325 h 357"/>
              <a:gd name="T12" fmla="*/ 110 w 318"/>
              <a:gd name="T13" fmla="*/ 328 h 357"/>
              <a:gd name="T14" fmla="*/ 87 w 318"/>
              <a:gd name="T15" fmla="*/ 321 h 357"/>
              <a:gd name="T16" fmla="*/ 87 w 318"/>
              <a:gd name="T17" fmla="*/ 284 h 357"/>
              <a:gd name="T18" fmla="*/ 134 w 318"/>
              <a:gd name="T19" fmla="*/ 284 h 357"/>
              <a:gd name="T20" fmla="*/ 134 w 318"/>
              <a:gd name="T21" fmla="*/ 225 h 357"/>
              <a:gd name="T22" fmla="*/ 121 w 318"/>
              <a:gd name="T23" fmla="*/ 225 h 357"/>
              <a:gd name="T24" fmla="*/ 121 w 318"/>
              <a:gd name="T25" fmla="*/ 181 h 357"/>
              <a:gd name="T26" fmla="*/ 138 w 318"/>
              <a:gd name="T27" fmla="*/ 203 h 357"/>
              <a:gd name="T28" fmla="*/ 192 w 318"/>
              <a:gd name="T29" fmla="*/ 203 h 357"/>
              <a:gd name="T30" fmla="*/ 210 w 318"/>
              <a:gd name="T31" fmla="*/ 185 h 357"/>
              <a:gd name="T32" fmla="*/ 192 w 318"/>
              <a:gd name="T33" fmla="*/ 167 h 357"/>
              <a:gd name="T34" fmla="*/ 155 w 318"/>
              <a:gd name="T35" fmla="*/ 167 h 357"/>
              <a:gd name="T36" fmla="*/ 121 w 318"/>
              <a:gd name="T37" fmla="*/ 123 h 357"/>
              <a:gd name="T38" fmla="*/ 81 w 318"/>
              <a:gd name="T39" fmla="*/ 105 h 357"/>
              <a:gd name="T40" fmla="*/ 41 w 318"/>
              <a:gd name="T41" fmla="*/ 126 h 357"/>
              <a:gd name="T42" fmla="*/ 41 w 318"/>
              <a:gd name="T43" fmla="*/ 259 h 357"/>
              <a:gd name="T44" fmla="*/ 39 w 318"/>
              <a:gd name="T45" fmla="*/ 256 h 357"/>
              <a:gd name="T46" fmla="*/ 39 w 318"/>
              <a:gd name="T47" fmla="*/ 255 h 357"/>
              <a:gd name="T48" fmla="*/ 25 w 318"/>
              <a:gd name="T49" fmla="*/ 158 h 357"/>
              <a:gd name="T50" fmla="*/ 12 w 318"/>
              <a:gd name="T51" fmla="*/ 148 h 357"/>
              <a:gd name="T52" fmla="*/ 1 w 318"/>
              <a:gd name="T53" fmla="*/ 162 h 357"/>
              <a:gd name="T54" fmla="*/ 15 w 318"/>
              <a:gd name="T55" fmla="*/ 257 h 357"/>
              <a:gd name="T56" fmla="*/ 43 w 318"/>
              <a:gd name="T57" fmla="*/ 284 h 357"/>
              <a:gd name="T58" fmla="*/ 71 w 318"/>
              <a:gd name="T59" fmla="*/ 284 h 357"/>
              <a:gd name="T60" fmla="*/ 71 w 318"/>
              <a:gd name="T61" fmla="*/ 321 h 357"/>
              <a:gd name="T62" fmla="*/ 48 w 318"/>
              <a:gd name="T63" fmla="*/ 328 h 357"/>
              <a:gd name="T64" fmla="*/ 40 w 318"/>
              <a:gd name="T65" fmla="*/ 325 h 357"/>
              <a:gd name="T66" fmla="*/ 24 w 318"/>
              <a:gd name="T67" fmla="*/ 341 h 357"/>
              <a:gd name="T68" fmla="*/ 40 w 318"/>
              <a:gd name="T69" fmla="*/ 357 h 357"/>
              <a:gd name="T70" fmla="*/ 56 w 318"/>
              <a:gd name="T71" fmla="*/ 342 h 357"/>
              <a:gd name="T72" fmla="*/ 79 w 318"/>
              <a:gd name="T73" fmla="*/ 336 h 357"/>
              <a:gd name="T74" fmla="*/ 102 w 318"/>
              <a:gd name="T75" fmla="*/ 342 h 357"/>
              <a:gd name="T76" fmla="*/ 118 w 318"/>
              <a:gd name="T77" fmla="*/ 357 h 357"/>
              <a:gd name="T78" fmla="*/ 134 w 318"/>
              <a:gd name="T79" fmla="*/ 341 h 357"/>
              <a:gd name="T80" fmla="*/ 118 w 318"/>
              <a:gd name="T81" fmla="*/ 325 h 357"/>
              <a:gd name="T82" fmla="*/ 149 w 318"/>
              <a:gd name="T83" fmla="*/ 214 h 357"/>
              <a:gd name="T84" fmla="*/ 149 w 318"/>
              <a:gd name="T85" fmla="*/ 345 h 357"/>
              <a:gd name="T86" fmla="*/ 161 w 318"/>
              <a:gd name="T87" fmla="*/ 357 h 357"/>
              <a:gd name="T88" fmla="*/ 173 w 318"/>
              <a:gd name="T89" fmla="*/ 345 h 357"/>
              <a:gd name="T90" fmla="*/ 173 w 318"/>
              <a:gd name="T91" fmla="*/ 344 h 357"/>
              <a:gd name="T92" fmla="*/ 261 w 318"/>
              <a:gd name="T93" fmla="*/ 344 h 357"/>
              <a:gd name="T94" fmla="*/ 261 w 318"/>
              <a:gd name="T95" fmla="*/ 345 h 357"/>
              <a:gd name="T96" fmla="*/ 273 w 318"/>
              <a:gd name="T97" fmla="*/ 357 h 357"/>
              <a:gd name="T98" fmla="*/ 285 w 318"/>
              <a:gd name="T99" fmla="*/ 345 h 357"/>
              <a:gd name="T100" fmla="*/ 285 w 318"/>
              <a:gd name="T101" fmla="*/ 214 h 357"/>
              <a:gd name="T102" fmla="*/ 149 w 318"/>
              <a:gd name="T103" fmla="*/ 214 h 357"/>
              <a:gd name="T104" fmla="*/ 297 w 318"/>
              <a:gd name="T105" fmla="*/ 117 h 357"/>
              <a:gd name="T106" fmla="*/ 270 w 318"/>
              <a:gd name="T107" fmla="*/ 183 h 357"/>
              <a:gd name="T108" fmla="*/ 232 w 318"/>
              <a:gd name="T109" fmla="*/ 183 h 357"/>
              <a:gd name="T110" fmla="*/ 222 w 318"/>
              <a:gd name="T111" fmla="*/ 193 h 357"/>
              <a:gd name="T112" fmla="*/ 232 w 318"/>
              <a:gd name="T113" fmla="*/ 203 h 357"/>
              <a:gd name="T114" fmla="*/ 284 w 318"/>
              <a:gd name="T115" fmla="*/ 203 h 357"/>
              <a:gd name="T116" fmla="*/ 316 w 318"/>
              <a:gd name="T117" fmla="*/ 124 h 357"/>
              <a:gd name="T118" fmla="*/ 310 w 318"/>
              <a:gd name="T119" fmla="*/ 111 h 357"/>
              <a:gd name="T120" fmla="*/ 297 w 318"/>
              <a:gd name="T121" fmla="*/ 117 h 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18" h="357">
                <a:moveTo>
                  <a:pt x="80" y="88"/>
                </a:moveTo>
                <a:cubicBezTo>
                  <a:pt x="56" y="88"/>
                  <a:pt x="36" y="69"/>
                  <a:pt x="36" y="44"/>
                </a:cubicBezTo>
                <a:cubicBezTo>
                  <a:pt x="36" y="20"/>
                  <a:pt x="56" y="0"/>
                  <a:pt x="80" y="0"/>
                </a:cubicBezTo>
                <a:cubicBezTo>
                  <a:pt x="105" y="0"/>
                  <a:pt x="125" y="20"/>
                  <a:pt x="125" y="44"/>
                </a:cubicBezTo>
                <a:cubicBezTo>
                  <a:pt x="125" y="69"/>
                  <a:pt x="105" y="88"/>
                  <a:pt x="80" y="88"/>
                </a:cubicBezTo>
                <a:close/>
                <a:moveTo>
                  <a:pt x="118" y="325"/>
                </a:moveTo>
                <a:cubicBezTo>
                  <a:pt x="115" y="325"/>
                  <a:pt x="112" y="326"/>
                  <a:pt x="110" y="328"/>
                </a:cubicBezTo>
                <a:cubicBezTo>
                  <a:pt x="103" y="324"/>
                  <a:pt x="95" y="322"/>
                  <a:pt x="87" y="321"/>
                </a:cubicBezTo>
                <a:cubicBezTo>
                  <a:pt x="87" y="284"/>
                  <a:pt x="87" y="284"/>
                  <a:pt x="87" y="284"/>
                </a:cubicBezTo>
                <a:cubicBezTo>
                  <a:pt x="134" y="284"/>
                  <a:pt x="134" y="284"/>
                  <a:pt x="134" y="284"/>
                </a:cubicBezTo>
                <a:cubicBezTo>
                  <a:pt x="134" y="225"/>
                  <a:pt x="134" y="225"/>
                  <a:pt x="134" y="225"/>
                </a:cubicBezTo>
                <a:cubicBezTo>
                  <a:pt x="121" y="225"/>
                  <a:pt x="121" y="225"/>
                  <a:pt x="121" y="225"/>
                </a:cubicBezTo>
                <a:cubicBezTo>
                  <a:pt x="121" y="181"/>
                  <a:pt x="121" y="181"/>
                  <a:pt x="121" y="181"/>
                </a:cubicBezTo>
                <a:cubicBezTo>
                  <a:pt x="138" y="203"/>
                  <a:pt x="138" y="203"/>
                  <a:pt x="138" y="203"/>
                </a:cubicBezTo>
                <a:cubicBezTo>
                  <a:pt x="192" y="203"/>
                  <a:pt x="192" y="203"/>
                  <a:pt x="192" y="203"/>
                </a:cubicBezTo>
                <a:cubicBezTo>
                  <a:pt x="202" y="203"/>
                  <a:pt x="210" y="195"/>
                  <a:pt x="210" y="185"/>
                </a:cubicBezTo>
                <a:cubicBezTo>
                  <a:pt x="210" y="175"/>
                  <a:pt x="202" y="167"/>
                  <a:pt x="192" y="167"/>
                </a:cubicBezTo>
                <a:cubicBezTo>
                  <a:pt x="192" y="167"/>
                  <a:pt x="167" y="167"/>
                  <a:pt x="155" y="167"/>
                </a:cubicBezTo>
                <a:cubicBezTo>
                  <a:pt x="147" y="157"/>
                  <a:pt x="129" y="134"/>
                  <a:pt x="121" y="123"/>
                </a:cubicBezTo>
                <a:cubicBezTo>
                  <a:pt x="113" y="112"/>
                  <a:pt x="103" y="105"/>
                  <a:pt x="81" y="105"/>
                </a:cubicBezTo>
                <a:cubicBezTo>
                  <a:pt x="54" y="105"/>
                  <a:pt x="41" y="114"/>
                  <a:pt x="41" y="126"/>
                </a:cubicBezTo>
                <a:cubicBezTo>
                  <a:pt x="41" y="259"/>
                  <a:pt x="41" y="259"/>
                  <a:pt x="41" y="259"/>
                </a:cubicBezTo>
                <a:cubicBezTo>
                  <a:pt x="39" y="258"/>
                  <a:pt x="39" y="257"/>
                  <a:pt x="39" y="256"/>
                </a:cubicBezTo>
                <a:cubicBezTo>
                  <a:pt x="39" y="255"/>
                  <a:pt x="39" y="255"/>
                  <a:pt x="39" y="255"/>
                </a:cubicBezTo>
                <a:cubicBezTo>
                  <a:pt x="25" y="158"/>
                  <a:pt x="25" y="158"/>
                  <a:pt x="25" y="158"/>
                </a:cubicBezTo>
                <a:cubicBezTo>
                  <a:pt x="24" y="152"/>
                  <a:pt x="18" y="147"/>
                  <a:pt x="12" y="148"/>
                </a:cubicBezTo>
                <a:cubicBezTo>
                  <a:pt x="5" y="149"/>
                  <a:pt x="0" y="155"/>
                  <a:pt x="1" y="162"/>
                </a:cubicBezTo>
                <a:cubicBezTo>
                  <a:pt x="15" y="257"/>
                  <a:pt x="15" y="257"/>
                  <a:pt x="15" y="257"/>
                </a:cubicBezTo>
                <a:cubicBezTo>
                  <a:pt x="15" y="272"/>
                  <a:pt x="28" y="284"/>
                  <a:pt x="43" y="284"/>
                </a:cubicBezTo>
                <a:cubicBezTo>
                  <a:pt x="71" y="284"/>
                  <a:pt x="71" y="284"/>
                  <a:pt x="71" y="284"/>
                </a:cubicBezTo>
                <a:cubicBezTo>
                  <a:pt x="71" y="321"/>
                  <a:pt x="71" y="321"/>
                  <a:pt x="71" y="321"/>
                </a:cubicBezTo>
                <a:cubicBezTo>
                  <a:pt x="63" y="322"/>
                  <a:pt x="55" y="324"/>
                  <a:pt x="48" y="328"/>
                </a:cubicBezTo>
                <a:cubicBezTo>
                  <a:pt x="46" y="326"/>
                  <a:pt x="43" y="325"/>
                  <a:pt x="40" y="325"/>
                </a:cubicBezTo>
                <a:cubicBezTo>
                  <a:pt x="32" y="325"/>
                  <a:pt x="24" y="333"/>
                  <a:pt x="24" y="341"/>
                </a:cubicBezTo>
                <a:cubicBezTo>
                  <a:pt x="24" y="350"/>
                  <a:pt x="32" y="357"/>
                  <a:pt x="40" y="357"/>
                </a:cubicBezTo>
                <a:cubicBezTo>
                  <a:pt x="49" y="357"/>
                  <a:pt x="56" y="350"/>
                  <a:pt x="56" y="342"/>
                </a:cubicBezTo>
                <a:cubicBezTo>
                  <a:pt x="63" y="338"/>
                  <a:pt x="71" y="336"/>
                  <a:pt x="79" y="336"/>
                </a:cubicBezTo>
                <a:cubicBezTo>
                  <a:pt x="87" y="336"/>
                  <a:pt x="95" y="338"/>
                  <a:pt x="102" y="342"/>
                </a:cubicBezTo>
                <a:cubicBezTo>
                  <a:pt x="102" y="350"/>
                  <a:pt x="109" y="357"/>
                  <a:pt x="118" y="357"/>
                </a:cubicBezTo>
                <a:cubicBezTo>
                  <a:pt x="127" y="357"/>
                  <a:pt x="134" y="350"/>
                  <a:pt x="134" y="341"/>
                </a:cubicBezTo>
                <a:cubicBezTo>
                  <a:pt x="134" y="333"/>
                  <a:pt x="127" y="325"/>
                  <a:pt x="118" y="325"/>
                </a:cubicBezTo>
                <a:close/>
                <a:moveTo>
                  <a:pt x="149" y="214"/>
                </a:moveTo>
                <a:cubicBezTo>
                  <a:pt x="149" y="345"/>
                  <a:pt x="149" y="345"/>
                  <a:pt x="149" y="345"/>
                </a:cubicBezTo>
                <a:cubicBezTo>
                  <a:pt x="149" y="352"/>
                  <a:pt x="155" y="357"/>
                  <a:pt x="161" y="357"/>
                </a:cubicBezTo>
                <a:cubicBezTo>
                  <a:pt x="168" y="357"/>
                  <a:pt x="173" y="352"/>
                  <a:pt x="173" y="345"/>
                </a:cubicBezTo>
                <a:cubicBezTo>
                  <a:pt x="173" y="344"/>
                  <a:pt x="173" y="344"/>
                  <a:pt x="173" y="344"/>
                </a:cubicBezTo>
                <a:cubicBezTo>
                  <a:pt x="261" y="344"/>
                  <a:pt x="261" y="344"/>
                  <a:pt x="261" y="344"/>
                </a:cubicBezTo>
                <a:cubicBezTo>
                  <a:pt x="261" y="345"/>
                  <a:pt x="261" y="345"/>
                  <a:pt x="261" y="345"/>
                </a:cubicBezTo>
                <a:cubicBezTo>
                  <a:pt x="261" y="352"/>
                  <a:pt x="267" y="357"/>
                  <a:pt x="273" y="357"/>
                </a:cubicBezTo>
                <a:cubicBezTo>
                  <a:pt x="280" y="357"/>
                  <a:pt x="285" y="352"/>
                  <a:pt x="285" y="345"/>
                </a:cubicBezTo>
                <a:cubicBezTo>
                  <a:pt x="285" y="214"/>
                  <a:pt x="285" y="214"/>
                  <a:pt x="285" y="214"/>
                </a:cubicBezTo>
                <a:lnTo>
                  <a:pt x="149" y="214"/>
                </a:lnTo>
                <a:close/>
                <a:moveTo>
                  <a:pt x="297" y="117"/>
                </a:moveTo>
                <a:cubicBezTo>
                  <a:pt x="297" y="117"/>
                  <a:pt x="275" y="172"/>
                  <a:pt x="270" y="183"/>
                </a:cubicBezTo>
                <a:cubicBezTo>
                  <a:pt x="261" y="183"/>
                  <a:pt x="232" y="183"/>
                  <a:pt x="232" y="183"/>
                </a:cubicBezTo>
                <a:cubicBezTo>
                  <a:pt x="226" y="183"/>
                  <a:pt x="222" y="187"/>
                  <a:pt x="222" y="193"/>
                </a:cubicBezTo>
                <a:cubicBezTo>
                  <a:pt x="222" y="198"/>
                  <a:pt x="226" y="203"/>
                  <a:pt x="232" y="203"/>
                </a:cubicBezTo>
                <a:cubicBezTo>
                  <a:pt x="284" y="203"/>
                  <a:pt x="284" y="203"/>
                  <a:pt x="284" y="203"/>
                </a:cubicBezTo>
                <a:cubicBezTo>
                  <a:pt x="316" y="124"/>
                  <a:pt x="316" y="124"/>
                  <a:pt x="316" y="124"/>
                </a:cubicBezTo>
                <a:cubicBezTo>
                  <a:pt x="318" y="119"/>
                  <a:pt x="315" y="113"/>
                  <a:pt x="310" y="111"/>
                </a:cubicBezTo>
                <a:cubicBezTo>
                  <a:pt x="305" y="109"/>
                  <a:pt x="299" y="112"/>
                  <a:pt x="297" y="1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13 CuadroTexto"/>
          <p:cNvSpPr txBox="1"/>
          <p:nvPr/>
        </p:nvSpPr>
        <p:spPr bwMode="gray">
          <a:xfrm>
            <a:off x="1331640" y="1635646"/>
            <a:ext cx="648072" cy="3068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b="1" dirty="0" smtClean="0">
                <a:solidFill>
                  <a:schemeClr val="bg1"/>
                </a:solidFill>
                <a:latin typeface="Arial"/>
              </a:rPr>
              <a:t>20%</a:t>
            </a:r>
          </a:p>
        </p:txBody>
      </p:sp>
      <p:sp>
        <p:nvSpPr>
          <p:cNvPr id="19" name="18 Rectángulo"/>
          <p:cNvSpPr/>
          <p:nvPr/>
        </p:nvSpPr>
        <p:spPr bwMode="gray">
          <a:xfrm>
            <a:off x="332234" y="2427734"/>
            <a:ext cx="3888110" cy="86409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20" name="19 Rectángulo"/>
          <p:cNvSpPr/>
          <p:nvPr/>
        </p:nvSpPr>
        <p:spPr bwMode="gray">
          <a:xfrm>
            <a:off x="332234" y="2427734"/>
            <a:ext cx="1799878" cy="86409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21" name="20 CuadroTexto"/>
          <p:cNvSpPr txBox="1"/>
          <p:nvPr/>
        </p:nvSpPr>
        <p:spPr bwMode="gray">
          <a:xfrm>
            <a:off x="2204120" y="2643758"/>
            <a:ext cx="1944055" cy="7200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sz="1200" b="1" dirty="0" smtClean="0">
                <a:latin typeface="Arial"/>
              </a:rPr>
              <a:t>Viajar o vivir fuera de Chile</a:t>
            </a:r>
          </a:p>
        </p:txBody>
      </p:sp>
      <p:sp>
        <p:nvSpPr>
          <p:cNvPr id="23" name="22 CuadroTexto"/>
          <p:cNvSpPr txBox="1"/>
          <p:nvPr/>
        </p:nvSpPr>
        <p:spPr bwMode="gray">
          <a:xfrm>
            <a:off x="1340024" y="2715766"/>
            <a:ext cx="648072" cy="3068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b="1" dirty="0" smtClean="0">
                <a:solidFill>
                  <a:schemeClr val="bg1"/>
                </a:solidFill>
                <a:latin typeface="Arial"/>
              </a:rPr>
              <a:t>17%</a:t>
            </a:r>
          </a:p>
        </p:txBody>
      </p:sp>
      <p:sp>
        <p:nvSpPr>
          <p:cNvPr id="25" name="Freeform 32"/>
          <p:cNvSpPr>
            <a:spLocks/>
          </p:cNvSpPr>
          <p:nvPr/>
        </p:nvSpPr>
        <p:spPr bwMode="auto">
          <a:xfrm>
            <a:off x="769361" y="2616982"/>
            <a:ext cx="256810" cy="196526"/>
          </a:xfrm>
          <a:custGeom>
            <a:avLst/>
            <a:gdLst>
              <a:gd name="T0" fmla="*/ 3 w 90"/>
              <a:gd name="T1" fmla="*/ 47 h 69"/>
              <a:gd name="T2" fmla="*/ 15 w 90"/>
              <a:gd name="T3" fmla="*/ 52 h 69"/>
              <a:gd name="T4" fmla="*/ 25 w 90"/>
              <a:gd name="T5" fmla="*/ 28 h 69"/>
              <a:gd name="T6" fmla="*/ 65 w 90"/>
              <a:gd name="T7" fmla="*/ 31 h 69"/>
              <a:gd name="T8" fmla="*/ 70 w 90"/>
              <a:gd name="T9" fmla="*/ 59 h 69"/>
              <a:gd name="T10" fmla="*/ 83 w 90"/>
              <a:gd name="T11" fmla="*/ 69 h 69"/>
              <a:gd name="T12" fmla="*/ 77 w 90"/>
              <a:gd name="T13" fmla="*/ 21 h 69"/>
              <a:gd name="T14" fmla="*/ 15 w 90"/>
              <a:gd name="T15" fmla="*/ 16 h 69"/>
              <a:gd name="T16" fmla="*/ 0 w 90"/>
              <a:gd name="T17" fmla="*/ 48 h 69"/>
              <a:gd name="T18" fmla="*/ 3 w 90"/>
              <a:gd name="T19" fmla="*/ 47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0" h="69">
                <a:moveTo>
                  <a:pt x="3" y="47"/>
                </a:moveTo>
                <a:cubicBezTo>
                  <a:pt x="6" y="46"/>
                  <a:pt x="11" y="49"/>
                  <a:pt x="15" y="52"/>
                </a:cubicBezTo>
                <a:cubicBezTo>
                  <a:pt x="14" y="43"/>
                  <a:pt x="18" y="34"/>
                  <a:pt x="25" y="28"/>
                </a:cubicBezTo>
                <a:cubicBezTo>
                  <a:pt x="37" y="18"/>
                  <a:pt x="55" y="19"/>
                  <a:pt x="65" y="31"/>
                </a:cubicBezTo>
                <a:cubicBezTo>
                  <a:pt x="72" y="39"/>
                  <a:pt x="74" y="50"/>
                  <a:pt x="70" y="59"/>
                </a:cubicBezTo>
                <a:cubicBezTo>
                  <a:pt x="74" y="62"/>
                  <a:pt x="79" y="65"/>
                  <a:pt x="83" y="69"/>
                </a:cubicBezTo>
                <a:cubicBezTo>
                  <a:pt x="90" y="54"/>
                  <a:pt x="89" y="35"/>
                  <a:pt x="77" y="21"/>
                </a:cubicBezTo>
                <a:cubicBezTo>
                  <a:pt x="62" y="3"/>
                  <a:pt x="34" y="0"/>
                  <a:pt x="15" y="16"/>
                </a:cubicBezTo>
                <a:cubicBezTo>
                  <a:pt x="5" y="24"/>
                  <a:pt x="0" y="36"/>
                  <a:pt x="0" y="48"/>
                </a:cubicBezTo>
                <a:cubicBezTo>
                  <a:pt x="1" y="48"/>
                  <a:pt x="2" y="47"/>
                  <a:pt x="3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6" name="Freeform 33"/>
          <p:cNvSpPr>
            <a:spLocks/>
          </p:cNvSpPr>
          <p:nvPr/>
        </p:nvSpPr>
        <p:spPr bwMode="auto">
          <a:xfrm>
            <a:off x="727162" y="2562727"/>
            <a:ext cx="77164" cy="81986"/>
          </a:xfrm>
          <a:custGeom>
            <a:avLst/>
            <a:gdLst>
              <a:gd name="T0" fmla="*/ 12 w 27"/>
              <a:gd name="T1" fmla="*/ 25 h 29"/>
              <a:gd name="T2" fmla="*/ 23 w 27"/>
              <a:gd name="T3" fmla="*/ 26 h 29"/>
              <a:gd name="T4" fmla="*/ 24 w 27"/>
              <a:gd name="T5" fmla="*/ 15 h 29"/>
              <a:gd name="T6" fmla="*/ 14 w 27"/>
              <a:gd name="T7" fmla="*/ 4 h 29"/>
              <a:gd name="T8" fmla="*/ 4 w 27"/>
              <a:gd name="T9" fmla="*/ 3 h 29"/>
              <a:gd name="T10" fmla="*/ 3 w 27"/>
              <a:gd name="T11" fmla="*/ 14 h 29"/>
              <a:gd name="T12" fmla="*/ 12 w 27"/>
              <a:gd name="T13" fmla="*/ 25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29">
                <a:moveTo>
                  <a:pt x="12" y="25"/>
                </a:moveTo>
                <a:cubicBezTo>
                  <a:pt x="15" y="28"/>
                  <a:pt x="20" y="29"/>
                  <a:pt x="23" y="26"/>
                </a:cubicBezTo>
                <a:cubicBezTo>
                  <a:pt x="26" y="23"/>
                  <a:pt x="27" y="19"/>
                  <a:pt x="24" y="15"/>
                </a:cubicBezTo>
                <a:cubicBezTo>
                  <a:pt x="14" y="4"/>
                  <a:pt x="14" y="4"/>
                  <a:pt x="14" y="4"/>
                </a:cubicBezTo>
                <a:cubicBezTo>
                  <a:pt x="12" y="1"/>
                  <a:pt x="7" y="0"/>
                  <a:pt x="4" y="3"/>
                </a:cubicBezTo>
                <a:cubicBezTo>
                  <a:pt x="0" y="6"/>
                  <a:pt x="0" y="11"/>
                  <a:pt x="3" y="14"/>
                </a:cubicBezTo>
                <a:lnTo>
                  <a:pt x="12" y="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7" name="Freeform 34"/>
          <p:cNvSpPr>
            <a:spLocks/>
          </p:cNvSpPr>
          <p:nvPr/>
        </p:nvSpPr>
        <p:spPr bwMode="auto">
          <a:xfrm>
            <a:off x="832056" y="2516911"/>
            <a:ext cx="54256" cy="88015"/>
          </a:xfrm>
          <a:custGeom>
            <a:avLst/>
            <a:gdLst>
              <a:gd name="T0" fmla="*/ 3 w 19"/>
              <a:gd name="T1" fmla="*/ 24 h 31"/>
              <a:gd name="T2" fmla="*/ 12 w 19"/>
              <a:gd name="T3" fmla="*/ 30 h 31"/>
              <a:gd name="T4" fmla="*/ 16 w 19"/>
              <a:gd name="T5" fmla="*/ 28 h 31"/>
              <a:gd name="T6" fmla="*/ 18 w 19"/>
              <a:gd name="T7" fmla="*/ 21 h 31"/>
              <a:gd name="T8" fmla="*/ 16 w 19"/>
              <a:gd name="T9" fmla="*/ 7 h 31"/>
              <a:gd name="T10" fmla="*/ 7 w 19"/>
              <a:gd name="T11" fmla="*/ 0 h 31"/>
              <a:gd name="T12" fmla="*/ 0 w 19"/>
              <a:gd name="T13" fmla="*/ 9 h 31"/>
              <a:gd name="T14" fmla="*/ 3 w 19"/>
              <a:gd name="T15" fmla="*/ 24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" h="31">
                <a:moveTo>
                  <a:pt x="3" y="24"/>
                </a:moveTo>
                <a:cubicBezTo>
                  <a:pt x="4" y="28"/>
                  <a:pt x="8" y="31"/>
                  <a:pt x="12" y="30"/>
                </a:cubicBezTo>
                <a:cubicBezTo>
                  <a:pt x="13" y="30"/>
                  <a:pt x="15" y="29"/>
                  <a:pt x="16" y="28"/>
                </a:cubicBezTo>
                <a:cubicBezTo>
                  <a:pt x="18" y="27"/>
                  <a:pt x="19" y="24"/>
                  <a:pt x="18" y="21"/>
                </a:cubicBezTo>
                <a:cubicBezTo>
                  <a:pt x="16" y="7"/>
                  <a:pt x="16" y="7"/>
                  <a:pt x="16" y="7"/>
                </a:cubicBezTo>
                <a:cubicBezTo>
                  <a:pt x="15" y="2"/>
                  <a:pt x="11" y="0"/>
                  <a:pt x="7" y="0"/>
                </a:cubicBezTo>
                <a:cubicBezTo>
                  <a:pt x="3" y="1"/>
                  <a:pt x="0" y="5"/>
                  <a:pt x="0" y="9"/>
                </a:cubicBezTo>
                <a:lnTo>
                  <a:pt x="3" y="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8" name="Freeform 35"/>
          <p:cNvSpPr>
            <a:spLocks/>
          </p:cNvSpPr>
          <p:nvPr/>
        </p:nvSpPr>
        <p:spPr bwMode="auto">
          <a:xfrm>
            <a:off x="928510" y="2525351"/>
            <a:ext cx="66312" cy="88015"/>
          </a:xfrm>
          <a:custGeom>
            <a:avLst/>
            <a:gdLst>
              <a:gd name="T0" fmla="*/ 6 w 23"/>
              <a:gd name="T1" fmla="*/ 30 h 31"/>
              <a:gd name="T2" fmla="*/ 14 w 23"/>
              <a:gd name="T3" fmla="*/ 28 h 31"/>
              <a:gd name="T4" fmla="*/ 16 w 23"/>
              <a:gd name="T5" fmla="*/ 25 h 31"/>
              <a:gd name="T6" fmla="*/ 21 w 23"/>
              <a:gd name="T7" fmla="*/ 11 h 31"/>
              <a:gd name="T8" fmla="*/ 17 w 23"/>
              <a:gd name="T9" fmla="*/ 1 h 31"/>
              <a:gd name="T10" fmla="*/ 7 w 23"/>
              <a:gd name="T11" fmla="*/ 6 h 31"/>
              <a:gd name="T12" fmla="*/ 2 w 23"/>
              <a:gd name="T13" fmla="*/ 20 h 31"/>
              <a:gd name="T14" fmla="*/ 6 w 23"/>
              <a:gd name="T15" fmla="*/ 3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3" h="31">
                <a:moveTo>
                  <a:pt x="6" y="30"/>
                </a:moveTo>
                <a:cubicBezTo>
                  <a:pt x="9" y="31"/>
                  <a:pt x="12" y="30"/>
                  <a:pt x="14" y="28"/>
                </a:cubicBezTo>
                <a:cubicBezTo>
                  <a:pt x="15" y="27"/>
                  <a:pt x="16" y="26"/>
                  <a:pt x="16" y="25"/>
                </a:cubicBezTo>
                <a:cubicBezTo>
                  <a:pt x="21" y="11"/>
                  <a:pt x="21" y="11"/>
                  <a:pt x="21" y="11"/>
                </a:cubicBezTo>
                <a:cubicBezTo>
                  <a:pt x="23" y="7"/>
                  <a:pt x="21" y="3"/>
                  <a:pt x="17" y="1"/>
                </a:cubicBezTo>
                <a:cubicBezTo>
                  <a:pt x="13" y="0"/>
                  <a:pt x="8" y="2"/>
                  <a:pt x="7" y="6"/>
                </a:cubicBezTo>
                <a:cubicBezTo>
                  <a:pt x="2" y="20"/>
                  <a:pt x="2" y="20"/>
                  <a:pt x="2" y="20"/>
                </a:cubicBezTo>
                <a:cubicBezTo>
                  <a:pt x="0" y="24"/>
                  <a:pt x="2" y="28"/>
                  <a:pt x="6" y="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9" name="Freeform 36"/>
          <p:cNvSpPr>
            <a:spLocks/>
          </p:cNvSpPr>
          <p:nvPr/>
        </p:nvSpPr>
        <p:spPr bwMode="auto">
          <a:xfrm>
            <a:off x="1005674" y="2590457"/>
            <a:ext cx="83192" cy="77163"/>
          </a:xfrm>
          <a:custGeom>
            <a:avLst/>
            <a:gdLst>
              <a:gd name="T0" fmla="*/ 14 w 29"/>
              <a:gd name="T1" fmla="*/ 24 h 27"/>
              <a:gd name="T2" fmla="*/ 25 w 29"/>
              <a:gd name="T3" fmla="*/ 15 h 27"/>
              <a:gd name="T4" fmla="*/ 26 w 29"/>
              <a:gd name="T5" fmla="*/ 4 h 27"/>
              <a:gd name="T6" fmla="*/ 15 w 29"/>
              <a:gd name="T7" fmla="*/ 3 h 27"/>
              <a:gd name="T8" fmla="*/ 4 w 29"/>
              <a:gd name="T9" fmla="*/ 12 h 27"/>
              <a:gd name="T10" fmla="*/ 3 w 29"/>
              <a:gd name="T11" fmla="*/ 23 h 27"/>
              <a:gd name="T12" fmla="*/ 14 w 29"/>
              <a:gd name="T13" fmla="*/ 24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27">
                <a:moveTo>
                  <a:pt x="14" y="24"/>
                </a:moveTo>
                <a:cubicBezTo>
                  <a:pt x="25" y="15"/>
                  <a:pt x="25" y="15"/>
                  <a:pt x="25" y="15"/>
                </a:cubicBezTo>
                <a:cubicBezTo>
                  <a:pt x="28" y="12"/>
                  <a:pt x="29" y="7"/>
                  <a:pt x="26" y="4"/>
                </a:cubicBezTo>
                <a:cubicBezTo>
                  <a:pt x="23" y="0"/>
                  <a:pt x="18" y="0"/>
                  <a:pt x="15" y="3"/>
                </a:cubicBezTo>
                <a:cubicBezTo>
                  <a:pt x="4" y="12"/>
                  <a:pt x="4" y="12"/>
                  <a:pt x="4" y="12"/>
                </a:cubicBezTo>
                <a:cubicBezTo>
                  <a:pt x="1" y="15"/>
                  <a:pt x="0" y="20"/>
                  <a:pt x="3" y="23"/>
                </a:cubicBezTo>
                <a:cubicBezTo>
                  <a:pt x="6" y="26"/>
                  <a:pt x="10" y="27"/>
                  <a:pt x="14" y="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0" name="Freeform 37"/>
          <p:cNvSpPr>
            <a:spLocks/>
          </p:cNvSpPr>
          <p:nvPr/>
        </p:nvSpPr>
        <p:spPr bwMode="auto">
          <a:xfrm>
            <a:off x="1045461" y="2696557"/>
            <a:ext cx="88015" cy="54256"/>
          </a:xfrm>
          <a:custGeom>
            <a:avLst/>
            <a:gdLst>
              <a:gd name="T0" fmla="*/ 31 w 31"/>
              <a:gd name="T1" fmla="*/ 7 h 19"/>
              <a:gd name="T2" fmla="*/ 22 w 31"/>
              <a:gd name="T3" fmla="*/ 1 h 19"/>
              <a:gd name="T4" fmla="*/ 7 w 31"/>
              <a:gd name="T5" fmla="*/ 3 h 19"/>
              <a:gd name="T6" fmla="*/ 1 w 31"/>
              <a:gd name="T7" fmla="*/ 12 h 19"/>
              <a:gd name="T8" fmla="*/ 10 w 31"/>
              <a:gd name="T9" fmla="*/ 18 h 19"/>
              <a:gd name="T10" fmla="*/ 24 w 31"/>
              <a:gd name="T11" fmla="*/ 16 h 19"/>
              <a:gd name="T12" fmla="*/ 28 w 31"/>
              <a:gd name="T13" fmla="*/ 14 h 19"/>
              <a:gd name="T14" fmla="*/ 31 w 31"/>
              <a:gd name="T15" fmla="*/ 7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1" h="19">
                <a:moveTo>
                  <a:pt x="31" y="7"/>
                </a:moveTo>
                <a:cubicBezTo>
                  <a:pt x="30" y="3"/>
                  <a:pt x="26" y="0"/>
                  <a:pt x="22" y="1"/>
                </a:cubicBezTo>
                <a:cubicBezTo>
                  <a:pt x="7" y="3"/>
                  <a:pt x="7" y="3"/>
                  <a:pt x="7" y="3"/>
                </a:cubicBezTo>
                <a:cubicBezTo>
                  <a:pt x="3" y="4"/>
                  <a:pt x="0" y="8"/>
                  <a:pt x="1" y="12"/>
                </a:cubicBezTo>
                <a:cubicBezTo>
                  <a:pt x="2" y="16"/>
                  <a:pt x="6" y="19"/>
                  <a:pt x="10" y="18"/>
                </a:cubicBezTo>
                <a:cubicBezTo>
                  <a:pt x="24" y="16"/>
                  <a:pt x="24" y="16"/>
                  <a:pt x="24" y="16"/>
                </a:cubicBezTo>
                <a:cubicBezTo>
                  <a:pt x="26" y="15"/>
                  <a:pt x="27" y="15"/>
                  <a:pt x="28" y="14"/>
                </a:cubicBezTo>
                <a:cubicBezTo>
                  <a:pt x="30" y="12"/>
                  <a:pt x="31" y="10"/>
                  <a:pt x="31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1" name="Freeform 38"/>
          <p:cNvSpPr>
            <a:spLocks/>
          </p:cNvSpPr>
          <p:nvPr/>
        </p:nvSpPr>
        <p:spPr bwMode="auto">
          <a:xfrm>
            <a:off x="1037022" y="2793012"/>
            <a:ext cx="88015" cy="62695"/>
          </a:xfrm>
          <a:custGeom>
            <a:avLst/>
            <a:gdLst>
              <a:gd name="T0" fmla="*/ 25 w 31"/>
              <a:gd name="T1" fmla="*/ 7 h 22"/>
              <a:gd name="T2" fmla="*/ 11 w 31"/>
              <a:gd name="T3" fmla="*/ 2 h 22"/>
              <a:gd name="T4" fmla="*/ 1 w 31"/>
              <a:gd name="T5" fmla="*/ 6 h 22"/>
              <a:gd name="T6" fmla="*/ 6 w 31"/>
              <a:gd name="T7" fmla="*/ 16 h 22"/>
              <a:gd name="T8" fmla="*/ 20 w 31"/>
              <a:gd name="T9" fmla="*/ 21 h 22"/>
              <a:gd name="T10" fmla="*/ 27 w 31"/>
              <a:gd name="T11" fmla="*/ 20 h 22"/>
              <a:gd name="T12" fmla="*/ 30 w 31"/>
              <a:gd name="T13" fmla="*/ 17 h 22"/>
              <a:gd name="T14" fmla="*/ 25 w 31"/>
              <a:gd name="T15" fmla="*/ 7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1" h="22">
                <a:moveTo>
                  <a:pt x="25" y="7"/>
                </a:moveTo>
                <a:cubicBezTo>
                  <a:pt x="11" y="2"/>
                  <a:pt x="11" y="2"/>
                  <a:pt x="11" y="2"/>
                </a:cubicBezTo>
                <a:cubicBezTo>
                  <a:pt x="7" y="0"/>
                  <a:pt x="3" y="2"/>
                  <a:pt x="1" y="6"/>
                </a:cubicBezTo>
                <a:cubicBezTo>
                  <a:pt x="0" y="10"/>
                  <a:pt x="2" y="15"/>
                  <a:pt x="6" y="16"/>
                </a:cubicBezTo>
                <a:cubicBezTo>
                  <a:pt x="20" y="21"/>
                  <a:pt x="20" y="21"/>
                  <a:pt x="20" y="21"/>
                </a:cubicBezTo>
                <a:cubicBezTo>
                  <a:pt x="22" y="22"/>
                  <a:pt x="25" y="22"/>
                  <a:pt x="27" y="20"/>
                </a:cubicBezTo>
                <a:cubicBezTo>
                  <a:pt x="28" y="19"/>
                  <a:pt x="29" y="18"/>
                  <a:pt x="30" y="17"/>
                </a:cubicBezTo>
                <a:cubicBezTo>
                  <a:pt x="31" y="13"/>
                  <a:pt x="29" y="8"/>
                  <a:pt x="25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2" name="Freeform 39"/>
          <p:cNvSpPr>
            <a:spLocks/>
          </p:cNvSpPr>
          <p:nvPr/>
        </p:nvSpPr>
        <p:spPr bwMode="auto">
          <a:xfrm>
            <a:off x="982766" y="2870175"/>
            <a:ext cx="77164" cy="81986"/>
          </a:xfrm>
          <a:custGeom>
            <a:avLst/>
            <a:gdLst>
              <a:gd name="T0" fmla="*/ 15 w 27"/>
              <a:gd name="T1" fmla="*/ 4 h 29"/>
              <a:gd name="T2" fmla="*/ 4 w 27"/>
              <a:gd name="T3" fmla="*/ 3 h 29"/>
              <a:gd name="T4" fmla="*/ 3 w 27"/>
              <a:gd name="T5" fmla="*/ 14 h 29"/>
              <a:gd name="T6" fmla="*/ 12 w 27"/>
              <a:gd name="T7" fmla="*/ 25 h 29"/>
              <a:gd name="T8" fmla="*/ 23 w 27"/>
              <a:gd name="T9" fmla="*/ 26 h 29"/>
              <a:gd name="T10" fmla="*/ 23 w 27"/>
              <a:gd name="T11" fmla="*/ 26 h 29"/>
              <a:gd name="T12" fmla="*/ 24 w 27"/>
              <a:gd name="T13" fmla="*/ 15 h 29"/>
              <a:gd name="T14" fmla="*/ 15 w 27"/>
              <a:gd name="T15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" h="29">
                <a:moveTo>
                  <a:pt x="15" y="4"/>
                </a:moveTo>
                <a:cubicBezTo>
                  <a:pt x="12" y="1"/>
                  <a:pt x="7" y="0"/>
                  <a:pt x="4" y="3"/>
                </a:cubicBezTo>
                <a:cubicBezTo>
                  <a:pt x="1" y="6"/>
                  <a:pt x="0" y="10"/>
                  <a:pt x="3" y="14"/>
                </a:cubicBezTo>
                <a:cubicBezTo>
                  <a:pt x="12" y="25"/>
                  <a:pt x="12" y="25"/>
                  <a:pt x="12" y="25"/>
                </a:cubicBezTo>
                <a:cubicBezTo>
                  <a:pt x="15" y="28"/>
                  <a:pt x="20" y="29"/>
                  <a:pt x="23" y="26"/>
                </a:cubicBezTo>
                <a:cubicBezTo>
                  <a:pt x="23" y="26"/>
                  <a:pt x="23" y="26"/>
                  <a:pt x="23" y="26"/>
                </a:cubicBezTo>
                <a:cubicBezTo>
                  <a:pt x="27" y="23"/>
                  <a:pt x="27" y="18"/>
                  <a:pt x="24" y="15"/>
                </a:cubicBezTo>
                <a:lnTo>
                  <a:pt x="15" y="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3" name="Freeform 40"/>
          <p:cNvSpPr>
            <a:spLocks/>
          </p:cNvSpPr>
          <p:nvPr/>
        </p:nvSpPr>
        <p:spPr bwMode="auto">
          <a:xfrm>
            <a:off x="900780" y="2909962"/>
            <a:ext cx="54256" cy="88015"/>
          </a:xfrm>
          <a:custGeom>
            <a:avLst/>
            <a:gdLst>
              <a:gd name="T0" fmla="*/ 7 w 19"/>
              <a:gd name="T1" fmla="*/ 1 h 31"/>
              <a:gd name="T2" fmla="*/ 1 w 19"/>
              <a:gd name="T3" fmla="*/ 10 h 31"/>
              <a:gd name="T4" fmla="*/ 3 w 19"/>
              <a:gd name="T5" fmla="*/ 24 h 31"/>
              <a:gd name="T6" fmla="*/ 12 w 19"/>
              <a:gd name="T7" fmla="*/ 31 h 31"/>
              <a:gd name="T8" fmla="*/ 16 w 19"/>
              <a:gd name="T9" fmla="*/ 29 h 31"/>
              <a:gd name="T10" fmla="*/ 18 w 19"/>
              <a:gd name="T11" fmla="*/ 22 h 31"/>
              <a:gd name="T12" fmla="*/ 16 w 19"/>
              <a:gd name="T13" fmla="*/ 7 h 31"/>
              <a:gd name="T14" fmla="*/ 7 w 19"/>
              <a:gd name="T15" fmla="*/ 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" h="31">
                <a:moveTo>
                  <a:pt x="7" y="1"/>
                </a:moveTo>
                <a:cubicBezTo>
                  <a:pt x="3" y="2"/>
                  <a:pt x="0" y="6"/>
                  <a:pt x="1" y="10"/>
                </a:cubicBezTo>
                <a:cubicBezTo>
                  <a:pt x="3" y="24"/>
                  <a:pt x="3" y="24"/>
                  <a:pt x="3" y="24"/>
                </a:cubicBezTo>
                <a:cubicBezTo>
                  <a:pt x="4" y="29"/>
                  <a:pt x="8" y="31"/>
                  <a:pt x="12" y="31"/>
                </a:cubicBezTo>
                <a:cubicBezTo>
                  <a:pt x="13" y="30"/>
                  <a:pt x="15" y="30"/>
                  <a:pt x="16" y="29"/>
                </a:cubicBezTo>
                <a:cubicBezTo>
                  <a:pt x="18" y="27"/>
                  <a:pt x="19" y="25"/>
                  <a:pt x="18" y="22"/>
                </a:cubicBezTo>
                <a:cubicBezTo>
                  <a:pt x="16" y="7"/>
                  <a:pt x="16" y="7"/>
                  <a:pt x="16" y="7"/>
                </a:cubicBezTo>
                <a:cubicBezTo>
                  <a:pt x="15" y="3"/>
                  <a:pt x="11" y="0"/>
                  <a:pt x="7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4" name="Freeform 41"/>
          <p:cNvSpPr>
            <a:spLocks/>
          </p:cNvSpPr>
          <p:nvPr/>
        </p:nvSpPr>
        <p:spPr bwMode="auto">
          <a:xfrm>
            <a:off x="660849" y="2656770"/>
            <a:ext cx="89220" cy="62695"/>
          </a:xfrm>
          <a:custGeom>
            <a:avLst/>
            <a:gdLst>
              <a:gd name="T0" fmla="*/ 6 w 31"/>
              <a:gd name="T1" fmla="*/ 16 h 22"/>
              <a:gd name="T2" fmla="*/ 20 w 31"/>
              <a:gd name="T3" fmla="*/ 21 h 22"/>
              <a:gd name="T4" fmla="*/ 27 w 31"/>
              <a:gd name="T5" fmla="*/ 20 h 22"/>
              <a:gd name="T6" fmla="*/ 30 w 31"/>
              <a:gd name="T7" fmla="*/ 16 h 22"/>
              <a:gd name="T8" fmla="*/ 25 w 31"/>
              <a:gd name="T9" fmla="*/ 7 h 22"/>
              <a:gd name="T10" fmla="*/ 11 w 31"/>
              <a:gd name="T11" fmla="*/ 1 h 22"/>
              <a:gd name="T12" fmla="*/ 1 w 31"/>
              <a:gd name="T13" fmla="*/ 6 h 22"/>
              <a:gd name="T14" fmla="*/ 6 w 31"/>
              <a:gd name="T15" fmla="*/ 16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1" h="22">
                <a:moveTo>
                  <a:pt x="6" y="16"/>
                </a:moveTo>
                <a:cubicBezTo>
                  <a:pt x="20" y="21"/>
                  <a:pt x="20" y="21"/>
                  <a:pt x="20" y="21"/>
                </a:cubicBezTo>
                <a:cubicBezTo>
                  <a:pt x="22" y="22"/>
                  <a:pt x="25" y="21"/>
                  <a:pt x="27" y="20"/>
                </a:cubicBezTo>
                <a:cubicBezTo>
                  <a:pt x="28" y="19"/>
                  <a:pt x="29" y="18"/>
                  <a:pt x="30" y="16"/>
                </a:cubicBezTo>
                <a:cubicBezTo>
                  <a:pt x="31" y="12"/>
                  <a:pt x="29" y="8"/>
                  <a:pt x="25" y="7"/>
                </a:cubicBezTo>
                <a:cubicBezTo>
                  <a:pt x="11" y="1"/>
                  <a:pt x="11" y="1"/>
                  <a:pt x="11" y="1"/>
                </a:cubicBezTo>
                <a:cubicBezTo>
                  <a:pt x="7" y="0"/>
                  <a:pt x="3" y="2"/>
                  <a:pt x="1" y="6"/>
                </a:cubicBezTo>
                <a:cubicBezTo>
                  <a:pt x="0" y="10"/>
                  <a:pt x="2" y="14"/>
                  <a:pt x="6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6" name="Freeform 43"/>
          <p:cNvSpPr>
            <a:spLocks/>
          </p:cNvSpPr>
          <p:nvPr/>
        </p:nvSpPr>
        <p:spPr bwMode="auto">
          <a:xfrm>
            <a:off x="741630" y="2776132"/>
            <a:ext cx="75958" cy="56667"/>
          </a:xfrm>
          <a:custGeom>
            <a:avLst/>
            <a:gdLst>
              <a:gd name="T0" fmla="*/ 9 w 27"/>
              <a:gd name="T1" fmla="*/ 3 h 20"/>
              <a:gd name="T2" fmla="*/ 2 w 27"/>
              <a:gd name="T3" fmla="*/ 11 h 20"/>
              <a:gd name="T4" fmla="*/ 3 w 27"/>
              <a:gd name="T5" fmla="*/ 19 h 20"/>
              <a:gd name="T6" fmla="*/ 4 w 27"/>
              <a:gd name="T7" fmla="*/ 20 h 20"/>
              <a:gd name="T8" fmla="*/ 27 w 27"/>
              <a:gd name="T9" fmla="*/ 11 h 20"/>
              <a:gd name="T10" fmla="*/ 17 w 27"/>
              <a:gd name="T11" fmla="*/ 2 h 20"/>
              <a:gd name="T12" fmla="*/ 9 w 27"/>
              <a:gd name="T13" fmla="*/ 3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20">
                <a:moveTo>
                  <a:pt x="9" y="3"/>
                </a:moveTo>
                <a:cubicBezTo>
                  <a:pt x="2" y="11"/>
                  <a:pt x="2" y="11"/>
                  <a:pt x="2" y="11"/>
                </a:cubicBezTo>
                <a:cubicBezTo>
                  <a:pt x="0" y="14"/>
                  <a:pt x="1" y="17"/>
                  <a:pt x="3" y="19"/>
                </a:cubicBezTo>
                <a:cubicBezTo>
                  <a:pt x="4" y="20"/>
                  <a:pt x="4" y="20"/>
                  <a:pt x="4" y="20"/>
                </a:cubicBezTo>
                <a:cubicBezTo>
                  <a:pt x="27" y="11"/>
                  <a:pt x="27" y="11"/>
                  <a:pt x="27" y="11"/>
                </a:cubicBezTo>
                <a:cubicBezTo>
                  <a:pt x="17" y="2"/>
                  <a:pt x="17" y="2"/>
                  <a:pt x="17" y="2"/>
                </a:cubicBezTo>
                <a:cubicBezTo>
                  <a:pt x="14" y="0"/>
                  <a:pt x="11" y="1"/>
                  <a:pt x="9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7" name="Freeform 44"/>
          <p:cNvSpPr>
            <a:spLocks/>
          </p:cNvSpPr>
          <p:nvPr/>
        </p:nvSpPr>
        <p:spPr bwMode="auto">
          <a:xfrm>
            <a:off x="507728" y="2761664"/>
            <a:ext cx="518442" cy="458158"/>
          </a:xfrm>
          <a:custGeom>
            <a:avLst/>
            <a:gdLst>
              <a:gd name="T0" fmla="*/ 178 w 182"/>
              <a:gd name="T1" fmla="*/ 95 h 161"/>
              <a:gd name="T2" fmla="*/ 175 w 182"/>
              <a:gd name="T3" fmla="*/ 90 h 161"/>
              <a:gd name="T4" fmla="*/ 170 w 182"/>
              <a:gd name="T5" fmla="*/ 90 h 161"/>
              <a:gd name="T6" fmla="*/ 146 w 182"/>
              <a:gd name="T7" fmla="*/ 96 h 161"/>
              <a:gd name="T8" fmla="*/ 119 w 182"/>
              <a:gd name="T9" fmla="*/ 71 h 161"/>
              <a:gd name="T10" fmla="*/ 165 w 182"/>
              <a:gd name="T11" fmla="*/ 27 h 161"/>
              <a:gd name="T12" fmla="*/ 166 w 182"/>
              <a:gd name="T13" fmla="*/ 27 h 161"/>
              <a:gd name="T14" fmla="*/ 167 w 182"/>
              <a:gd name="T15" fmla="*/ 20 h 161"/>
              <a:gd name="T16" fmla="*/ 162 w 182"/>
              <a:gd name="T17" fmla="*/ 15 h 161"/>
              <a:gd name="T18" fmla="*/ 146 w 182"/>
              <a:gd name="T19" fmla="*/ 11 h 161"/>
              <a:gd name="T20" fmla="*/ 141 w 182"/>
              <a:gd name="T21" fmla="*/ 11 h 161"/>
              <a:gd name="T22" fmla="*/ 80 w 182"/>
              <a:gd name="T23" fmla="*/ 36 h 161"/>
              <a:gd name="T24" fmla="*/ 57 w 182"/>
              <a:gd name="T25" fmla="*/ 16 h 161"/>
              <a:gd name="T26" fmla="*/ 57 w 182"/>
              <a:gd name="T27" fmla="*/ 16 h 161"/>
              <a:gd name="T28" fmla="*/ 32 w 182"/>
              <a:gd name="T29" fmla="*/ 3 h 161"/>
              <a:gd name="T30" fmla="*/ 17 w 182"/>
              <a:gd name="T31" fmla="*/ 0 h 161"/>
              <a:gd name="T32" fmla="*/ 3 w 182"/>
              <a:gd name="T33" fmla="*/ 5 h 161"/>
              <a:gd name="T34" fmla="*/ 2 w 182"/>
              <a:gd name="T35" fmla="*/ 20 h 161"/>
              <a:gd name="T36" fmla="*/ 26 w 182"/>
              <a:gd name="T37" fmla="*/ 55 h 161"/>
              <a:gd name="T38" fmla="*/ 27 w 182"/>
              <a:gd name="T39" fmla="*/ 55 h 161"/>
              <a:gd name="T40" fmla="*/ 52 w 182"/>
              <a:gd name="T41" fmla="*/ 72 h 161"/>
              <a:gd name="T42" fmla="*/ 41 w 182"/>
              <a:gd name="T43" fmla="*/ 137 h 161"/>
              <a:gd name="T44" fmla="*/ 42 w 182"/>
              <a:gd name="T45" fmla="*/ 142 h 161"/>
              <a:gd name="T46" fmla="*/ 50 w 182"/>
              <a:gd name="T47" fmla="*/ 157 h 161"/>
              <a:gd name="T48" fmla="*/ 56 w 182"/>
              <a:gd name="T49" fmla="*/ 161 h 161"/>
              <a:gd name="T50" fmla="*/ 62 w 182"/>
              <a:gd name="T51" fmla="*/ 158 h 161"/>
              <a:gd name="T52" fmla="*/ 62 w 182"/>
              <a:gd name="T53" fmla="*/ 157 h 161"/>
              <a:gd name="T54" fmla="*/ 95 w 182"/>
              <a:gd name="T55" fmla="*/ 102 h 161"/>
              <a:gd name="T56" fmla="*/ 125 w 182"/>
              <a:gd name="T57" fmla="*/ 123 h 161"/>
              <a:gd name="T58" fmla="*/ 124 w 182"/>
              <a:gd name="T59" fmla="*/ 147 h 161"/>
              <a:gd name="T60" fmla="*/ 126 w 182"/>
              <a:gd name="T61" fmla="*/ 152 h 161"/>
              <a:gd name="T62" fmla="*/ 131 w 182"/>
              <a:gd name="T63" fmla="*/ 154 h 161"/>
              <a:gd name="T64" fmla="*/ 146 w 182"/>
              <a:gd name="T65" fmla="*/ 154 h 161"/>
              <a:gd name="T66" fmla="*/ 151 w 182"/>
              <a:gd name="T67" fmla="*/ 151 h 161"/>
              <a:gd name="T68" fmla="*/ 153 w 182"/>
              <a:gd name="T69" fmla="*/ 147 h 161"/>
              <a:gd name="T70" fmla="*/ 153 w 182"/>
              <a:gd name="T71" fmla="*/ 129 h 161"/>
              <a:gd name="T72" fmla="*/ 161 w 182"/>
              <a:gd name="T73" fmla="*/ 135 h 161"/>
              <a:gd name="T74" fmla="*/ 167 w 182"/>
              <a:gd name="T75" fmla="*/ 134 h 161"/>
              <a:gd name="T76" fmla="*/ 166 w 182"/>
              <a:gd name="T77" fmla="*/ 128 h 161"/>
              <a:gd name="T78" fmla="*/ 159 w 182"/>
              <a:gd name="T79" fmla="*/ 122 h 161"/>
              <a:gd name="T80" fmla="*/ 176 w 182"/>
              <a:gd name="T81" fmla="*/ 118 h 161"/>
              <a:gd name="T82" fmla="*/ 180 w 182"/>
              <a:gd name="T83" fmla="*/ 115 h 161"/>
              <a:gd name="T84" fmla="*/ 181 w 182"/>
              <a:gd name="T85" fmla="*/ 109 h 161"/>
              <a:gd name="T86" fmla="*/ 178 w 182"/>
              <a:gd name="T87" fmla="*/ 95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82" h="161">
                <a:moveTo>
                  <a:pt x="178" y="95"/>
                </a:moveTo>
                <a:cubicBezTo>
                  <a:pt x="178" y="93"/>
                  <a:pt x="177" y="91"/>
                  <a:pt x="175" y="90"/>
                </a:cubicBezTo>
                <a:cubicBezTo>
                  <a:pt x="173" y="89"/>
                  <a:pt x="172" y="89"/>
                  <a:pt x="170" y="90"/>
                </a:cubicBezTo>
                <a:cubicBezTo>
                  <a:pt x="146" y="96"/>
                  <a:pt x="146" y="96"/>
                  <a:pt x="146" y="96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65" y="27"/>
                  <a:pt x="165" y="27"/>
                  <a:pt x="165" y="27"/>
                </a:cubicBezTo>
                <a:cubicBezTo>
                  <a:pt x="165" y="27"/>
                  <a:pt x="166" y="27"/>
                  <a:pt x="166" y="27"/>
                </a:cubicBezTo>
                <a:cubicBezTo>
                  <a:pt x="167" y="25"/>
                  <a:pt x="168" y="22"/>
                  <a:pt x="167" y="20"/>
                </a:cubicBezTo>
                <a:cubicBezTo>
                  <a:pt x="167" y="18"/>
                  <a:pt x="164" y="16"/>
                  <a:pt x="162" y="15"/>
                </a:cubicBezTo>
                <a:cubicBezTo>
                  <a:pt x="146" y="11"/>
                  <a:pt x="146" y="11"/>
                  <a:pt x="146" y="11"/>
                </a:cubicBezTo>
                <a:cubicBezTo>
                  <a:pt x="144" y="10"/>
                  <a:pt x="142" y="10"/>
                  <a:pt x="141" y="11"/>
                </a:cubicBezTo>
                <a:cubicBezTo>
                  <a:pt x="80" y="36"/>
                  <a:pt x="80" y="36"/>
                  <a:pt x="80" y="36"/>
                </a:cubicBezTo>
                <a:cubicBezTo>
                  <a:pt x="57" y="16"/>
                  <a:pt x="57" y="16"/>
                  <a:pt x="57" y="16"/>
                </a:cubicBezTo>
                <a:cubicBezTo>
                  <a:pt x="57" y="16"/>
                  <a:pt x="57" y="16"/>
                  <a:pt x="57" y="16"/>
                </a:cubicBezTo>
                <a:cubicBezTo>
                  <a:pt x="51" y="11"/>
                  <a:pt x="42" y="6"/>
                  <a:pt x="32" y="3"/>
                </a:cubicBezTo>
                <a:cubicBezTo>
                  <a:pt x="27" y="1"/>
                  <a:pt x="22" y="0"/>
                  <a:pt x="17" y="0"/>
                </a:cubicBezTo>
                <a:cubicBezTo>
                  <a:pt x="13" y="0"/>
                  <a:pt x="7" y="0"/>
                  <a:pt x="3" y="5"/>
                </a:cubicBezTo>
                <a:cubicBezTo>
                  <a:pt x="0" y="10"/>
                  <a:pt x="0" y="15"/>
                  <a:pt x="2" y="20"/>
                </a:cubicBezTo>
                <a:cubicBezTo>
                  <a:pt x="6" y="33"/>
                  <a:pt x="18" y="48"/>
                  <a:pt x="26" y="55"/>
                </a:cubicBezTo>
                <a:cubicBezTo>
                  <a:pt x="27" y="55"/>
                  <a:pt x="27" y="55"/>
                  <a:pt x="27" y="55"/>
                </a:cubicBezTo>
                <a:cubicBezTo>
                  <a:pt x="52" y="72"/>
                  <a:pt x="52" y="72"/>
                  <a:pt x="52" y="72"/>
                </a:cubicBezTo>
                <a:cubicBezTo>
                  <a:pt x="41" y="137"/>
                  <a:pt x="41" y="137"/>
                  <a:pt x="41" y="137"/>
                </a:cubicBezTo>
                <a:cubicBezTo>
                  <a:pt x="41" y="139"/>
                  <a:pt x="41" y="141"/>
                  <a:pt x="42" y="142"/>
                </a:cubicBezTo>
                <a:cubicBezTo>
                  <a:pt x="50" y="157"/>
                  <a:pt x="50" y="157"/>
                  <a:pt x="50" y="157"/>
                </a:cubicBezTo>
                <a:cubicBezTo>
                  <a:pt x="51" y="159"/>
                  <a:pt x="53" y="161"/>
                  <a:pt x="56" y="161"/>
                </a:cubicBezTo>
                <a:cubicBezTo>
                  <a:pt x="58" y="161"/>
                  <a:pt x="61" y="160"/>
                  <a:pt x="62" y="158"/>
                </a:cubicBezTo>
                <a:cubicBezTo>
                  <a:pt x="62" y="158"/>
                  <a:pt x="62" y="157"/>
                  <a:pt x="62" y="157"/>
                </a:cubicBezTo>
                <a:cubicBezTo>
                  <a:pt x="95" y="102"/>
                  <a:pt x="95" y="102"/>
                  <a:pt x="95" y="102"/>
                </a:cubicBezTo>
                <a:cubicBezTo>
                  <a:pt x="125" y="123"/>
                  <a:pt x="125" y="123"/>
                  <a:pt x="125" y="123"/>
                </a:cubicBezTo>
                <a:cubicBezTo>
                  <a:pt x="124" y="147"/>
                  <a:pt x="124" y="147"/>
                  <a:pt x="124" y="147"/>
                </a:cubicBezTo>
                <a:cubicBezTo>
                  <a:pt x="124" y="149"/>
                  <a:pt x="125" y="151"/>
                  <a:pt x="126" y="152"/>
                </a:cubicBezTo>
                <a:cubicBezTo>
                  <a:pt x="128" y="154"/>
                  <a:pt x="129" y="154"/>
                  <a:pt x="131" y="154"/>
                </a:cubicBezTo>
                <a:cubicBezTo>
                  <a:pt x="146" y="154"/>
                  <a:pt x="146" y="154"/>
                  <a:pt x="146" y="154"/>
                </a:cubicBezTo>
                <a:cubicBezTo>
                  <a:pt x="148" y="154"/>
                  <a:pt x="150" y="153"/>
                  <a:pt x="151" y="151"/>
                </a:cubicBezTo>
                <a:cubicBezTo>
                  <a:pt x="152" y="150"/>
                  <a:pt x="153" y="149"/>
                  <a:pt x="153" y="147"/>
                </a:cubicBezTo>
                <a:cubicBezTo>
                  <a:pt x="153" y="129"/>
                  <a:pt x="153" y="129"/>
                  <a:pt x="153" y="129"/>
                </a:cubicBezTo>
                <a:cubicBezTo>
                  <a:pt x="161" y="135"/>
                  <a:pt x="161" y="135"/>
                  <a:pt x="161" y="135"/>
                </a:cubicBezTo>
                <a:cubicBezTo>
                  <a:pt x="163" y="136"/>
                  <a:pt x="165" y="136"/>
                  <a:pt x="167" y="134"/>
                </a:cubicBezTo>
                <a:cubicBezTo>
                  <a:pt x="168" y="132"/>
                  <a:pt x="168" y="129"/>
                  <a:pt x="166" y="128"/>
                </a:cubicBezTo>
                <a:cubicBezTo>
                  <a:pt x="159" y="122"/>
                  <a:pt x="159" y="122"/>
                  <a:pt x="159" y="122"/>
                </a:cubicBezTo>
                <a:cubicBezTo>
                  <a:pt x="176" y="118"/>
                  <a:pt x="176" y="118"/>
                  <a:pt x="176" y="118"/>
                </a:cubicBezTo>
                <a:cubicBezTo>
                  <a:pt x="178" y="117"/>
                  <a:pt x="179" y="116"/>
                  <a:pt x="180" y="115"/>
                </a:cubicBezTo>
                <a:cubicBezTo>
                  <a:pt x="181" y="114"/>
                  <a:pt x="182" y="112"/>
                  <a:pt x="181" y="109"/>
                </a:cubicBezTo>
                <a:lnTo>
                  <a:pt x="178" y="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8" name="37 Rectángulo"/>
          <p:cNvSpPr/>
          <p:nvPr/>
        </p:nvSpPr>
        <p:spPr bwMode="gray">
          <a:xfrm>
            <a:off x="332234" y="3516238"/>
            <a:ext cx="3888110" cy="86409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39" name="38 Rectángulo"/>
          <p:cNvSpPr/>
          <p:nvPr/>
        </p:nvSpPr>
        <p:spPr bwMode="gray">
          <a:xfrm>
            <a:off x="332234" y="3516238"/>
            <a:ext cx="1799878" cy="86409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40" name="39 CuadroTexto"/>
          <p:cNvSpPr txBox="1"/>
          <p:nvPr/>
        </p:nvSpPr>
        <p:spPr bwMode="gray">
          <a:xfrm>
            <a:off x="2204120" y="3732262"/>
            <a:ext cx="1944055" cy="7200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sz="1200" b="1" dirty="0" smtClean="0">
                <a:latin typeface="Arial"/>
              </a:rPr>
              <a:t>Comprar una casa o un departamento para vivir</a:t>
            </a:r>
          </a:p>
        </p:txBody>
      </p:sp>
      <p:sp>
        <p:nvSpPr>
          <p:cNvPr id="41" name="40 CuadroTexto"/>
          <p:cNvSpPr txBox="1"/>
          <p:nvPr/>
        </p:nvSpPr>
        <p:spPr bwMode="gray">
          <a:xfrm>
            <a:off x="1340024" y="3804270"/>
            <a:ext cx="648072" cy="3068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b="1" dirty="0" smtClean="0">
                <a:solidFill>
                  <a:schemeClr val="bg1"/>
                </a:solidFill>
                <a:latin typeface="Arial"/>
              </a:rPr>
              <a:t>15%</a:t>
            </a:r>
          </a:p>
        </p:txBody>
      </p:sp>
      <p:grpSp>
        <p:nvGrpSpPr>
          <p:cNvPr id="54" name="Group 87"/>
          <p:cNvGrpSpPr/>
          <p:nvPr/>
        </p:nvGrpSpPr>
        <p:grpSpPr>
          <a:xfrm>
            <a:off x="496385" y="3651870"/>
            <a:ext cx="753552" cy="589349"/>
            <a:chOff x="295275" y="1327151"/>
            <a:chExt cx="939800" cy="735012"/>
          </a:xfrm>
          <a:solidFill>
            <a:schemeClr val="bg1"/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939800" y="1336676"/>
              <a:ext cx="130175" cy="146050"/>
            </a:xfrm>
            <a:custGeom>
              <a:avLst/>
              <a:gdLst>
                <a:gd name="T0" fmla="*/ 82 w 82"/>
                <a:gd name="T1" fmla="*/ 0 h 92"/>
                <a:gd name="T2" fmla="*/ 0 w 82"/>
                <a:gd name="T3" fmla="*/ 0 h 92"/>
                <a:gd name="T4" fmla="*/ 0 w 82"/>
                <a:gd name="T5" fmla="*/ 37 h 92"/>
                <a:gd name="T6" fmla="*/ 82 w 82"/>
                <a:gd name="T7" fmla="*/ 92 h 92"/>
                <a:gd name="T8" fmla="*/ 82 w 82"/>
                <a:gd name="T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92">
                  <a:moveTo>
                    <a:pt x="82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82" y="92"/>
                  </a:lnTo>
                  <a:lnTo>
                    <a:pt x="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6"/>
            <p:cNvSpPr>
              <a:spLocks noEditPoints="1"/>
            </p:cNvSpPr>
            <p:nvPr/>
          </p:nvSpPr>
          <p:spPr bwMode="auto">
            <a:xfrm>
              <a:off x="295275" y="1327151"/>
              <a:ext cx="939800" cy="735012"/>
            </a:xfrm>
            <a:custGeom>
              <a:avLst/>
              <a:gdLst>
                <a:gd name="T0" fmla="*/ 296 w 592"/>
                <a:gd name="T1" fmla="*/ 0 h 463"/>
                <a:gd name="T2" fmla="*/ 0 w 592"/>
                <a:gd name="T3" fmla="*/ 201 h 463"/>
                <a:gd name="T4" fmla="*/ 27 w 592"/>
                <a:gd name="T5" fmla="*/ 242 h 463"/>
                <a:gd name="T6" fmla="*/ 70 w 592"/>
                <a:gd name="T7" fmla="*/ 213 h 463"/>
                <a:gd name="T8" fmla="*/ 70 w 592"/>
                <a:gd name="T9" fmla="*/ 463 h 463"/>
                <a:gd name="T10" fmla="*/ 158 w 592"/>
                <a:gd name="T11" fmla="*/ 463 h 463"/>
                <a:gd name="T12" fmla="*/ 158 w 592"/>
                <a:gd name="T13" fmla="*/ 263 h 463"/>
                <a:gd name="T14" fmla="*/ 277 w 592"/>
                <a:gd name="T15" fmla="*/ 263 h 463"/>
                <a:gd name="T16" fmla="*/ 277 w 592"/>
                <a:gd name="T17" fmla="*/ 463 h 463"/>
                <a:gd name="T18" fmla="*/ 522 w 592"/>
                <a:gd name="T19" fmla="*/ 463 h 463"/>
                <a:gd name="T20" fmla="*/ 522 w 592"/>
                <a:gd name="T21" fmla="*/ 213 h 463"/>
                <a:gd name="T22" fmla="*/ 565 w 592"/>
                <a:gd name="T23" fmla="*/ 242 h 463"/>
                <a:gd name="T24" fmla="*/ 592 w 592"/>
                <a:gd name="T25" fmla="*/ 201 h 463"/>
                <a:gd name="T26" fmla="*/ 296 w 592"/>
                <a:gd name="T27" fmla="*/ 0 h 463"/>
                <a:gd name="T28" fmla="*/ 451 w 592"/>
                <a:gd name="T29" fmla="*/ 358 h 463"/>
                <a:gd name="T30" fmla="*/ 332 w 592"/>
                <a:gd name="T31" fmla="*/ 358 h 463"/>
                <a:gd name="T32" fmla="*/ 332 w 592"/>
                <a:gd name="T33" fmla="*/ 263 h 463"/>
                <a:gd name="T34" fmla="*/ 451 w 592"/>
                <a:gd name="T35" fmla="*/ 263 h 463"/>
                <a:gd name="T36" fmla="*/ 451 w 592"/>
                <a:gd name="T37" fmla="*/ 358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2" h="463">
                  <a:moveTo>
                    <a:pt x="296" y="0"/>
                  </a:moveTo>
                  <a:lnTo>
                    <a:pt x="0" y="201"/>
                  </a:lnTo>
                  <a:lnTo>
                    <a:pt x="27" y="242"/>
                  </a:lnTo>
                  <a:lnTo>
                    <a:pt x="70" y="213"/>
                  </a:lnTo>
                  <a:lnTo>
                    <a:pt x="70" y="463"/>
                  </a:lnTo>
                  <a:lnTo>
                    <a:pt x="158" y="463"/>
                  </a:lnTo>
                  <a:lnTo>
                    <a:pt x="158" y="263"/>
                  </a:lnTo>
                  <a:lnTo>
                    <a:pt x="277" y="263"/>
                  </a:lnTo>
                  <a:lnTo>
                    <a:pt x="277" y="463"/>
                  </a:lnTo>
                  <a:lnTo>
                    <a:pt x="522" y="463"/>
                  </a:lnTo>
                  <a:lnTo>
                    <a:pt x="522" y="213"/>
                  </a:lnTo>
                  <a:lnTo>
                    <a:pt x="565" y="242"/>
                  </a:lnTo>
                  <a:lnTo>
                    <a:pt x="592" y="201"/>
                  </a:lnTo>
                  <a:lnTo>
                    <a:pt x="296" y="0"/>
                  </a:lnTo>
                  <a:close/>
                  <a:moveTo>
                    <a:pt x="451" y="358"/>
                  </a:moveTo>
                  <a:lnTo>
                    <a:pt x="332" y="358"/>
                  </a:lnTo>
                  <a:lnTo>
                    <a:pt x="332" y="263"/>
                  </a:lnTo>
                  <a:lnTo>
                    <a:pt x="451" y="263"/>
                  </a:lnTo>
                  <a:lnTo>
                    <a:pt x="451" y="3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56 Rectángulo"/>
          <p:cNvSpPr/>
          <p:nvPr/>
        </p:nvSpPr>
        <p:spPr bwMode="gray">
          <a:xfrm>
            <a:off x="4572000" y="1334559"/>
            <a:ext cx="3888110" cy="86409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58" name="57 Rectángulo"/>
          <p:cNvSpPr/>
          <p:nvPr/>
        </p:nvSpPr>
        <p:spPr bwMode="gray">
          <a:xfrm>
            <a:off x="4572000" y="1334559"/>
            <a:ext cx="1799878" cy="86409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59" name="58 CuadroTexto"/>
          <p:cNvSpPr txBox="1"/>
          <p:nvPr/>
        </p:nvSpPr>
        <p:spPr bwMode="gray">
          <a:xfrm>
            <a:off x="6443886" y="1478575"/>
            <a:ext cx="1944055" cy="7200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sz="1200" b="1" dirty="0" smtClean="0">
                <a:latin typeface="Arial"/>
              </a:rPr>
              <a:t>Dedicarme profesionalmente a lo que me apasiona</a:t>
            </a:r>
          </a:p>
        </p:txBody>
      </p:sp>
      <p:sp>
        <p:nvSpPr>
          <p:cNvPr id="61" name="60 CuadroTexto"/>
          <p:cNvSpPr txBox="1"/>
          <p:nvPr/>
        </p:nvSpPr>
        <p:spPr bwMode="gray">
          <a:xfrm>
            <a:off x="5579790" y="1622591"/>
            <a:ext cx="648072" cy="3068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b="1" dirty="0">
                <a:solidFill>
                  <a:schemeClr val="bg1"/>
                </a:solidFill>
                <a:latin typeface="Arial"/>
              </a:rPr>
              <a:t>7</a:t>
            </a:r>
            <a:r>
              <a:rPr lang="es-CL" b="1" dirty="0" smtClean="0">
                <a:solidFill>
                  <a:schemeClr val="bg1"/>
                </a:solidFill>
                <a:latin typeface="Arial"/>
              </a:rPr>
              <a:t>%</a:t>
            </a:r>
          </a:p>
        </p:txBody>
      </p:sp>
      <p:sp>
        <p:nvSpPr>
          <p:cNvPr id="62" name="61 Rectángulo"/>
          <p:cNvSpPr/>
          <p:nvPr/>
        </p:nvSpPr>
        <p:spPr bwMode="gray">
          <a:xfrm>
            <a:off x="4580384" y="2414679"/>
            <a:ext cx="3888110" cy="86409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63" name="62 Rectángulo"/>
          <p:cNvSpPr/>
          <p:nvPr/>
        </p:nvSpPr>
        <p:spPr bwMode="gray">
          <a:xfrm>
            <a:off x="4580384" y="2414679"/>
            <a:ext cx="1799878" cy="86409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64" name="63 CuadroTexto"/>
          <p:cNvSpPr txBox="1"/>
          <p:nvPr/>
        </p:nvSpPr>
        <p:spPr bwMode="gray">
          <a:xfrm>
            <a:off x="6452270" y="2715766"/>
            <a:ext cx="1944055" cy="7200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sz="1200" b="1" dirty="0" smtClean="0">
                <a:latin typeface="Arial"/>
              </a:rPr>
              <a:t>Estar más saludable</a:t>
            </a:r>
          </a:p>
        </p:txBody>
      </p:sp>
      <p:sp>
        <p:nvSpPr>
          <p:cNvPr id="65" name="64 CuadroTexto"/>
          <p:cNvSpPr txBox="1"/>
          <p:nvPr/>
        </p:nvSpPr>
        <p:spPr bwMode="gray">
          <a:xfrm>
            <a:off x="5588174" y="2702711"/>
            <a:ext cx="648072" cy="3068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b="1" dirty="0">
                <a:solidFill>
                  <a:schemeClr val="bg1"/>
                </a:solidFill>
                <a:latin typeface="Arial"/>
              </a:rPr>
              <a:t>6</a:t>
            </a:r>
            <a:r>
              <a:rPr lang="es-CL" b="1" dirty="0" smtClean="0">
                <a:solidFill>
                  <a:schemeClr val="bg1"/>
                </a:solidFill>
                <a:latin typeface="Arial"/>
              </a:rPr>
              <a:t>%</a:t>
            </a:r>
          </a:p>
        </p:txBody>
      </p:sp>
      <p:sp>
        <p:nvSpPr>
          <p:cNvPr id="78" name="77 Rectángulo"/>
          <p:cNvSpPr/>
          <p:nvPr/>
        </p:nvSpPr>
        <p:spPr bwMode="gray">
          <a:xfrm>
            <a:off x="4571678" y="3516238"/>
            <a:ext cx="3888110" cy="86409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79" name="78 Rectángulo"/>
          <p:cNvSpPr/>
          <p:nvPr/>
        </p:nvSpPr>
        <p:spPr bwMode="gray">
          <a:xfrm>
            <a:off x="4571678" y="3516238"/>
            <a:ext cx="1799878" cy="86409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80" name="79 CuadroTexto"/>
          <p:cNvSpPr txBox="1"/>
          <p:nvPr/>
        </p:nvSpPr>
        <p:spPr bwMode="gray">
          <a:xfrm>
            <a:off x="6443564" y="3867894"/>
            <a:ext cx="1944055" cy="7200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sz="1200" b="1" dirty="0" smtClean="0">
                <a:latin typeface="Arial"/>
              </a:rPr>
              <a:t>Tener hijos</a:t>
            </a:r>
          </a:p>
        </p:txBody>
      </p:sp>
      <p:sp>
        <p:nvSpPr>
          <p:cNvPr id="81" name="80 CuadroTexto"/>
          <p:cNvSpPr txBox="1"/>
          <p:nvPr/>
        </p:nvSpPr>
        <p:spPr bwMode="gray">
          <a:xfrm>
            <a:off x="5579468" y="3804270"/>
            <a:ext cx="648072" cy="3068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b="1" dirty="0" smtClean="0">
                <a:solidFill>
                  <a:schemeClr val="bg1"/>
                </a:solidFill>
                <a:latin typeface="Arial"/>
              </a:rPr>
              <a:t>5%</a:t>
            </a:r>
          </a:p>
        </p:txBody>
      </p:sp>
      <p:grpSp>
        <p:nvGrpSpPr>
          <p:cNvPr id="15" name="14 Grupo"/>
          <p:cNvGrpSpPr/>
          <p:nvPr/>
        </p:nvGrpSpPr>
        <p:grpSpPr>
          <a:xfrm>
            <a:off x="4860032" y="1459433"/>
            <a:ext cx="513806" cy="680269"/>
            <a:chOff x="4785160" y="1440643"/>
            <a:chExt cx="513806" cy="680269"/>
          </a:xfrm>
        </p:grpSpPr>
        <p:sp>
          <p:nvSpPr>
            <p:cNvPr id="86" name="Freeform 65"/>
            <p:cNvSpPr>
              <a:spLocks/>
            </p:cNvSpPr>
            <p:nvPr/>
          </p:nvSpPr>
          <p:spPr bwMode="auto">
            <a:xfrm>
              <a:off x="4785160" y="1511422"/>
              <a:ext cx="513806" cy="609490"/>
            </a:xfrm>
            <a:custGeom>
              <a:avLst/>
              <a:gdLst>
                <a:gd name="T0" fmla="*/ 226 w 392"/>
                <a:gd name="T1" fmla="*/ 465 h 465"/>
                <a:gd name="T2" fmla="*/ 226 w 392"/>
                <a:gd name="T3" fmla="*/ 407 h 465"/>
                <a:gd name="T4" fmla="*/ 331 w 392"/>
                <a:gd name="T5" fmla="*/ 407 h 465"/>
                <a:gd name="T6" fmla="*/ 331 w 392"/>
                <a:gd name="T7" fmla="*/ 465 h 465"/>
                <a:gd name="T8" fmla="*/ 392 w 392"/>
                <a:gd name="T9" fmla="*/ 465 h 465"/>
                <a:gd name="T10" fmla="*/ 392 w 392"/>
                <a:gd name="T11" fmla="*/ 371 h 465"/>
                <a:gd name="T12" fmla="*/ 371 w 392"/>
                <a:gd name="T13" fmla="*/ 350 h 465"/>
                <a:gd name="T14" fmla="*/ 299 w 392"/>
                <a:gd name="T15" fmla="*/ 350 h 465"/>
                <a:gd name="T16" fmla="*/ 316 w 392"/>
                <a:gd name="T17" fmla="*/ 271 h 465"/>
                <a:gd name="T18" fmla="*/ 311 w 392"/>
                <a:gd name="T19" fmla="*/ 248 h 465"/>
                <a:gd name="T20" fmla="*/ 289 w 392"/>
                <a:gd name="T21" fmla="*/ 237 h 465"/>
                <a:gd name="T22" fmla="*/ 220 w 392"/>
                <a:gd name="T23" fmla="*/ 237 h 465"/>
                <a:gd name="T24" fmla="*/ 237 w 392"/>
                <a:gd name="T25" fmla="*/ 127 h 465"/>
                <a:gd name="T26" fmla="*/ 264 w 392"/>
                <a:gd name="T27" fmla="*/ 127 h 465"/>
                <a:gd name="T28" fmla="*/ 344 w 392"/>
                <a:gd name="T29" fmla="*/ 75 h 465"/>
                <a:gd name="T30" fmla="*/ 361 w 392"/>
                <a:gd name="T31" fmla="*/ 28 h 465"/>
                <a:gd name="T32" fmla="*/ 343 w 392"/>
                <a:gd name="T33" fmla="*/ 2 h 465"/>
                <a:gd name="T34" fmla="*/ 318 w 392"/>
                <a:gd name="T35" fmla="*/ 20 h 465"/>
                <a:gd name="T36" fmla="*/ 264 w 392"/>
                <a:gd name="T37" fmla="*/ 83 h 465"/>
                <a:gd name="T38" fmla="*/ 137 w 392"/>
                <a:gd name="T39" fmla="*/ 83 h 465"/>
                <a:gd name="T40" fmla="*/ 45 w 392"/>
                <a:gd name="T41" fmla="*/ 120 h 465"/>
                <a:gd name="T42" fmla="*/ 3 w 392"/>
                <a:gd name="T43" fmla="*/ 203 h 465"/>
                <a:gd name="T44" fmla="*/ 19 w 392"/>
                <a:gd name="T45" fmla="*/ 230 h 465"/>
                <a:gd name="T46" fmla="*/ 24 w 392"/>
                <a:gd name="T47" fmla="*/ 231 h 465"/>
                <a:gd name="T48" fmla="*/ 46 w 392"/>
                <a:gd name="T49" fmla="*/ 215 h 465"/>
                <a:gd name="T50" fmla="*/ 75 w 392"/>
                <a:gd name="T51" fmla="*/ 152 h 465"/>
                <a:gd name="T52" fmla="*/ 121 w 392"/>
                <a:gd name="T53" fmla="*/ 128 h 465"/>
                <a:gd name="T54" fmla="*/ 113 w 392"/>
                <a:gd name="T55" fmla="*/ 251 h 465"/>
                <a:gd name="T56" fmla="*/ 11 w 392"/>
                <a:gd name="T57" fmla="*/ 417 h 465"/>
                <a:gd name="T58" fmla="*/ 17 w 392"/>
                <a:gd name="T59" fmla="*/ 459 h 465"/>
                <a:gd name="T60" fmla="*/ 35 w 392"/>
                <a:gd name="T61" fmla="*/ 465 h 465"/>
                <a:gd name="T62" fmla="*/ 59 w 392"/>
                <a:gd name="T63" fmla="*/ 453 h 465"/>
                <a:gd name="T64" fmla="*/ 160 w 392"/>
                <a:gd name="T65" fmla="*/ 293 h 465"/>
                <a:gd name="T66" fmla="*/ 254 w 392"/>
                <a:gd name="T67" fmla="*/ 293 h 465"/>
                <a:gd name="T68" fmla="*/ 242 w 392"/>
                <a:gd name="T69" fmla="*/ 350 h 465"/>
                <a:gd name="T70" fmla="*/ 186 w 392"/>
                <a:gd name="T71" fmla="*/ 350 h 465"/>
                <a:gd name="T72" fmla="*/ 165 w 392"/>
                <a:gd name="T73" fmla="*/ 371 h 465"/>
                <a:gd name="T74" fmla="*/ 165 w 392"/>
                <a:gd name="T75" fmla="*/ 465 h 465"/>
                <a:gd name="T76" fmla="*/ 226 w 392"/>
                <a:gd name="T77" fmla="*/ 465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92" h="465">
                  <a:moveTo>
                    <a:pt x="226" y="465"/>
                  </a:moveTo>
                  <a:cubicBezTo>
                    <a:pt x="226" y="407"/>
                    <a:pt x="226" y="407"/>
                    <a:pt x="226" y="407"/>
                  </a:cubicBezTo>
                  <a:cubicBezTo>
                    <a:pt x="331" y="407"/>
                    <a:pt x="331" y="407"/>
                    <a:pt x="331" y="407"/>
                  </a:cubicBezTo>
                  <a:cubicBezTo>
                    <a:pt x="331" y="465"/>
                    <a:pt x="331" y="465"/>
                    <a:pt x="331" y="465"/>
                  </a:cubicBezTo>
                  <a:cubicBezTo>
                    <a:pt x="392" y="465"/>
                    <a:pt x="392" y="465"/>
                    <a:pt x="392" y="465"/>
                  </a:cubicBezTo>
                  <a:cubicBezTo>
                    <a:pt x="392" y="371"/>
                    <a:pt x="392" y="371"/>
                    <a:pt x="392" y="371"/>
                  </a:cubicBezTo>
                  <a:cubicBezTo>
                    <a:pt x="392" y="360"/>
                    <a:pt x="383" y="350"/>
                    <a:pt x="371" y="350"/>
                  </a:cubicBezTo>
                  <a:cubicBezTo>
                    <a:pt x="299" y="350"/>
                    <a:pt x="299" y="350"/>
                    <a:pt x="299" y="350"/>
                  </a:cubicBezTo>
                  <a:cubicBezTo>
                    <a:pt x="316" y="271"/>
                    <a:pt x="316" y="271"/>
                    <a:pt x="316" y="271"/>
                  </a:cubicBezTo>
                  <a:cubicBezTo>
                    <a:pt x="318" y="263"/>
                    <a:pt x="316" y="254"/>
                    <a:pt x="311" y="248"/>
                  </a:cubicBezTo>
                  <a:cubicBezTo>
                    <a:pt x="306" y="241"/>
                    <a:pt x="298" y="237"/>
                    <a:pt x="289" y="237"/>
                  </a:cubicBezTo>
                  <a:cubicBezTo>
                    <a:pt x="220" y="237"/>
                    <a:pt x="220" y="237"/>
                    <a:pt x="220" y="237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64" y="127"/>
                    <a:pt x="264" y="127"/>
                    <a:pt x="264" y="127"/>
                  </a:cubicBezTo>
                  <a:cubicBezTo>
                    <a:pt x="298" y="127"/>
                    <a:pt x="325" y="109"/>
                    <a:pt x="344" y="75"/>
                  </a:cubicBezTo>
                  <a:cubicBezTo>
                    <a:pt x="357" y="52"/>
                    <a:pt x="361" y="29"/>
                    <a:pt x="361" y="28"/>
                  </a:cubicBezTo>
                  <a:cubicBezTo>
                    <a:pt x="363" y="16"/>
                    <a:pt x="355" y="4"/>
                    <a:pt x="343" y="2"/>
                  </a:cubicBezTo>
                  <a:cubicBezTo>
                    <a:pt x="331" y="0"/>
                    <a:pt x="320" y="8"/>
                    <a:pt x="318" y="20"/>
                  </a:cubicBezTo>
                  <a:cubicBezTo>
                    <a:pt x="318" y="21"/>
                    <a:pt x="306" y="83"/>
                    <a:pt x="264" y="83"/>
                  </a:cubicBezTo>
                  <a:cubicBezTo>
                    <a:pt x="137" y="83"/>
                    <a:pt x="137" y="83"/>
                    <a:pt x="137" y="83"/>
                  </a:cubicBezTo>
                  <a:cubicBezTo>
                    <a:pt x="130" y="83"/>
                    <a:pt x="83" y="83"/>
                    <a:pt x="45" y="120"/>
                  </a:cubicBezTo>
                  <a:cubicBezTo>
                    <a:pt x="19" y="145"/>
                    <a:pt x="5" y="198"/>
                    <a:pt x="3" y="203"/>
                  </a:cubicBezTo>
                  <a:cubicBezTo>
                    <a:pt x="0" y="215"/>
                    <a:pt x="7" y="227"/>
                    <a:pt x="19" y="230"/>
                  </a:cubicBezTo>
                  <a:cubicBezTo>
                    <a:pt x="21" y="231"/>
                    <a:pt x="22" y="231"/>
                    <a:pt x="24" y="231"/>
                  </a:cubicBezTo>
                  <a:cubicBezTo>
                    <a:pt x="34" y="231"/>
                    <a:pt x="43" y="225"/>
                    <a:pt x="46" y="215"/>
                  </a:cubicBezTo>
                  <a:cubicBezTo>
                    <a:pt x="50" y="197"/>
                    <a:pt x="62" y="164"/>
                    <a:pt x="75" y="152"/>
                  </a:cubicBezTo>
                  <a:cubicBezTo>
                    <a:pt x="91" y="136"/>
                    <a:pt x="109" y="131"/>
                    <a:pt x="121" y="128"/>
                  </a:cubicBezTo>
                  <a:cubicBezTo>
                    <a:pt x="113" y="251"/>
                    <a:pt x="113" y="251"/>
                    <a:pt x="113" y="251"/>
                  </a:cubicBezTo>
                  <a:cubicBezTo>
                    <a:pt x="83" y="321"/>
                    <a:pt x="11" y="416"/>
                    <a:pt x="11" y="417"/>
                  </a:cubicBezTo>
                  <a:cubicBezTo>
                    <a:pt x="1" y="431"/>
                    <a:pt x="3" y="449"/>
                    <a:pt x="17" y="459"/>
                  </a:cubicBezTo>
                  <a:cubicBezTo>
                    <a:pt x="22" y="463"/>
                    <a:pt x="28" y="465"/>
                    <a:pt x="35" y="465"/>
                  </a:cubicBezTo>
                  <a:cubicBezTo>
                    <a:pt x="44" y="465"/>
                    <a:pt x="53" y="461"/>
                    <a:pt x="59" y="453"/>
                  </a:cubicBezTo>
                  <a:cubicBezTo>
                    <a:pt x="62" y="449"/>
                    <a:pt x="124" y="367"/>
                    <a:pt x="160" y="293"/>
                  </a:cubicBezTo>
                  <a:cubicBezTo>
                    <a:pt x="160" y="293"/>
                    <a:pt x="254" y="293"/>
                    <a:pt x="254" y="293"/>
                  </a:cubicBezTo>
                  <a:cubicBezTo>
                    <a:pt x="242" y="350"/>
                    <a:pt x="242" y="350"/>
                    <a:pt x="242" y="350"/>
                  </a:cubicBezTo>
                  <a:cubicBezTo>
                    <a:pt x="186" y="350"/>
                    <a:pt x="186" y="350"/>
                    <a:pt x="186" y="350"/>
                  </a:cubicBezTo>
                  <a:cubicBezTo>
                    <a:pt x="174" y="350"/>
                    <a:pt x="165" y="360"/>
                    <a:pt x="165" y="371"/>
                  </a:cubicBezTo>
                  <a:cubicBezTo>
                    <a:pt x="165" y="465"/>
                    <a:pt x="165" y="465"/>
                    <a:pt x="165" y="465"/>
                  </a:cubicBezTo>
                  <a:lnTo>
                    <a:pt x="226" y="46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7" name="Freeform 66"/>
            <p:cNvSpPr>
              <a:spLocks/>
            </p:cNvSpPr>
            <p:nvPr/>
          </p:nvSpPr>
          <p:spPr bwMode="auto">
            <a:xfrm>
              <a:off x="4955555" y="1440643"/>
              <a:ext cx="154666" cy="154666"/>
            </a:xfrm>
            <a:custGeom>
              <a:avLst/>
              <a:gdLst>
                <a:gd name="T0" fmla="*/ 67 w 118"/>
                <a:gd name="T1" fmla="*/ 113 h 118"/>
                <a:gd name="T2" fmla="*/ 113 w 118"/>
                <a:gd name="T3" fmla="*/ 51 h 118"/>
                <a:gd name="T4" fmla="*/ 51 w 118"/>
                <a:gd name="T5" fmla="*/ 5 h 118"/>
                <a:gd name="T6" fmla="*/ 5 w 118"/>
                <a:gd name="T7" fmla="*/ 67 h 118"/>
                <a:gd name="T8" fmla="*/ 67 w 118"/>
                <a:gd name="T9" fmla="*/ 11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118">
                  <a:moveTo>
                    <a:pt x="67" y="113"/>
                  </a:moveTo>
                  <a:cubicBezTo>
                    <a:pt x="97" y="109"/>
                    <a:pt x="118" y="81"/>
                    <a:pt x="113" y="51"/>
                  </a:cubicBezTo>
                  <a:cubicBezTo>
                    <a:pt x="109" y="21"/>
                    <a:pt x="81" y="0"/>
                    <a:pt x="51" y="5"/>
                  </a:cubicBezTo>
                  <a:cubicBezTo>
                    <a:pt x="21" y="9"/>
                    <a:pt x="0" y="37"/>
                    <a:pt x="5" y="67"/>
                  </a:cubicBezTo>
                  <a:cubicBezTo>
                    <a:pt x="9" y="97"/>
                    <a:pt x="37" y="118"/>
                    <a:pt x="67" y="1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89" name="Group 14"/>
          <p:cNvGrpSpPr>
            <a:grpSpLocks noChangeAspect="1"/>
          </p:cNvGrpSpPr>
          <p:nvPr/>
        </p:nvGrpSpPr>
        <p:grpSpPr bwMode="auto">
          <a:xfrm>
            <a:off x="4788024" y="2476633"/>
            <a:ext cx="609281" cy="743189"/>
            <a:chOff x="2002" y="742"/>
            <a:chExt cx="455" cy="555"/>
          </a:xfrm>
          <a:solidFill>
            <a:schemeClr val="bg1"/>
          </a:solidFill>
        </p:grpSpPr>
        <p:sp>
          <p:nvSpPr>
            <p:cNvPr id="90" name="Freeform 15"/>
            <p:cNvSpPr>
              <a:spLocks/>
            </p:cNvSpPr>
            <p:nvPr/>
          </p:nvSpPr>
          <p:spPr bwMode="auto">
            <a:xfrm>
              <a:off x="2235" y="742"/>
              <a:ext cx="184" cy="184"/>
            </a:xfrm>
            <a:custGeom>
              <a:avLst/>
              <a:gdLst>
                <a:gd name="T0" fmla="*/ 64 w 64"/>
                <a:gd name="T1" fmla="*/ 11 h 64"/>
                <a:gd name="T2" fmla="*/ 0 w 64"/>
                <a:gd name="T3" fmla="*/ 47 h 64"/>
                <a:gd name="T4" fmla="*/ 64 w 64"/>
                <a:gd name="T5" fmla="*/ 1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" h="64">
                  <a:moveTo>
                    <a:pt x="64" y="11"/>
                  </a:moveTo>
                  <a:cubicBezTo>
                    <a:pt x="7" y="0"/>
                    <a:pt x="0" y="47"/>
                    <a:pt x="0" y="47"/>
                  </a:cubicBezTo>
                  <a:cubicBezTo>
                    <a:pt x="46" y="64"/>
                    <a:pt x="64" y="11"/>
                    <a:pt x="64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6"/>
            <p:cNvSpPr>
              <a:spLocks/>
            </p:cNvSpPr>
            <p:nvPr/>
          </p:nvSpPr>
          <p:spPr bwMode="auto">
            <a:xfrm>
              <a:off x="2140" y="791"/>
              <a:ext cx="92" cy="118"/>
            </a:xfrm>
            <a:custGeom>
              <a:avLst/>
              <a:gdLst>
                <a:gd name="T0" fmla="*/ 15 w 32"/>
                <a:gd name="T1" fmla="*/ 23 h 41"/>
                <a:gd name="T2" fmla="*/ 26 w 32"/>
                <a:gd name="T3" fmla="*/ 41 h 41"/>
                <a:gd name="T4" fmla="*/ 32 w 32"/>
                <a:gd name="T5" fmla="*/ 39 h 41"/>
                <a:gd name="T6" fmla="*/ 29 w 32"/>
                <a:gd name="T7" fmla="*/ 28 h 41"/>
                <a:gd name="T8" fmla="*/ 24 w 32"/>
                <a:gd name="T9" fmla="*/ 17 h 41"/>
                <a:gd name="T10" fmla="*/ 5 w 32"/>
                <a:gd name="T11" fmla="*/ 0 h 41"/>
                <a:gd name="T12" fmla="*/ 0 w 32"/>
                <a:gd name="T13" fmla="*/ 14 h 41"/>
                <a:gd name="T14" fmla="*/ 15 w 32"/>
                <a:gd name="T15" fmla="*/ 2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41">
                  <a:moveTo>
                    <a:pt x="15" y="23"/>
                  </a:moveTo>
                  <a:cubicBezTo>
                    <a:pt x="20" y="28"/>
                    <a:pt x="23" y="34"/>
                    <a:pt x="26" y="41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1" y="35"/>
                    <a:pt x="30" y="31"/>
                    <a:pt x="29" y="28"/>
                  </a:cubicBezTo>
                  <a:cubicBezTo>
                    <a:pt x="28" y="24"/>
                    <a:pt x="26" y="20"/>
                    <a:pt x="24" y="17"/>
                  </a:cubicBezTo>
                  <a:cubicBezTo>
                    <a:pt x="20" y="10"/>
                    <a:pt x="14" y="3"/>
                    <a:pt x="5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5"/>
                    <a:pt x="11" y="18"/>
                    <a:pt x="15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7"/>
            <p:cNvSpPr>
              <a:spLocks noEditPoints="1"/>
            </p:cNvSpPr>
            <p:nvPr/>
          </p:nvSpPr>
          <p:spPr bwMode="auto">
            <a:xfrm>
              <a:off x="2002" y="920"/>
              <a:ext cx="455" cy="377"/>
            </a:xfrm>
            <a:custGeom>
              <a:avLst/>
              <a:gdLst>
                <a:gd name="T0" fmla="*/ 70 w 158"/>
                <a:gd name="T1" fmla="*/ 127 h 131"/>
                <a:gd name="T2" fmla="*/ 79 w 158"/>
                <a:gd name="T3" fmla="*/ 123 h 131"/>
                <a:gd name="T4" fmla="*/ 88 w 158"/>
                <a:gd name="T5" fmla="*/ 127 h 131"/>
                <a:gd name="T6" fmla="*/ 153 w 158"/>
                <a:gd name="T7" fmla="*/ 63 h 131"/>
                <a:gd name="T8" fmla="*/ 113 w 158"/>
                <a:gd name="T9" fmla="*/ 2 h 131"/>
                <a:gd name="T10" fmla="*/ 79 w 158"/>
                <a:gd name="T11" fmla="*/ 9 h 131"/>
                <a:gd name="T12" fmla="*/ 45 w 158"/>
                <a:gd name="T13" fmla="*/ 2 h 131"/>
                <a:gd name="T14" fmla="*/ 5 w 158"/>
                <a:gd name="T15" fmla="*/ 63 h 131"/>
                <a:gd name="T16" fmla="*/ 70 w 158"/>
                <a:gd name="T17" fmla="*/ 127 h 131"/>
                <a:gd name="T18" fmla="*/ 35 w 158"/>
                <a:gd name="T19" fmla="*/ 21 h 131"/>
                <a:gd name="T20" fmla="*/ 41 w 158"/>
                <a:gd name="T21" fmla="*/ 27 h 131"/>
                <a:gd name="T22" fmla="*/ 38 w 158"/>
                <a:gd name="T23" fmla="*/ 63 h 131"/>
                <a:gd name="T24" fmla="*/ 50 w 158"/>
                <a:gd name="T25" fmla="*/ 100 h 131"/>
                <a:gd name="T26" fmla="*/ 46 w 158"/>
                <a:gd name="T27" fmla="*/ 104 h 131"/>
                <a:gd name="T28" fmla="*/ 20 w 158"/>
                <a:gd name="T29" fmla="*/ 63 h 131"/>
                <a:gd name="T30" fmla="*/ 35 w 158"/>
                <a:gd name="T31" fmla="*/ 2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8" h="131">
                  <a:moveTo>
                    <a:pt x="70" y="127"/>
                  </a:moveTo>
                  <a:cubicBezTo>
                    <a:pt x="73" y="126"/>
                    <a:pt x="76" y="125"/>
                    <a:pt x="79" y="123"/>
                  </a:cubicBezTo>
                  <a:cubicBezTo>
                    <a:pt x="82" y="125"/>
                    <a:pt x="85" y="126"/>
                    <a:pt x="88" y="127"/>
                  </a:cubicBezTo>
                  <a:cubicBezTo>
                    <a:pt x="118" y="131"/>
                    <a:pt x="147" y="90"/>
                    <a:pt x="153" y="63"/>
                  </a:cubicBezTo>
                  <a:cubicBezTo>
                    <a:pt x="158" y="37"/>
                    <a:pt x="141" y="8"/>
                    <a:pt x="113" y="2"/>
                  </a:cubicBezTo>
                  <a:cubicBezTo>
                    <a:pt x="101" y="0"/>
                    <a:pt x="89" y="3"/>
                    <a:pt x="79" y="9"/>
                  </a:cubicBezTo>
                  <a:cubicBezTo>
                    <a:pt x="69" y="3"/>
                    <a:pt x="57" y="0"/>
                    <a:pt x="45" y="2"/>
                  </a:cubicBezTo>
                  <a:cubicBezTo>
                    <a:pt x="17" y="8"/>
                    <a:pt x="0" y="37"/>
                    <a:pt x="5" y="63"/>
                  </a:cubicBezTo>
                  <a:cubicBezTo>
                    <a:pt x="11" y="90"/>
                    <a:pt x="40" y="131"/>
                    <a:pt x="70" y="127"/>
                  </a:cubicBezTo>
                  <a:close/>
                  <a:moveTo>
                    <a:pt x="35" y="21"/>
                  </a:moveTo>
                  <a:cubicBezTo>
                    <a:pt x="42" y="15"/>
                    <a:pt x="44" y="18"/>
                    <a:pt x="41" y="27"/>
                  </a:cubicBezTo>
                  <a:cubicBezTo>
                    <a:pt x="37" y="38"/>
                    <a:pt x="36" y="51"/>
                    <a:pt x="38" y="63"/>
                  </a:cubicBezTo>
                  <a:cubicBezTo>
                    <a:pt x="39" y="74"/>
                    <a:pt x="44" y="88"/>
                    <a:pt x="50" y="100"/>
                  </a:cubicBezTo>
                  <a:cubicBezTo>
                    <a:pt x="54" y="108"/>
                    <a:pt x="52" y="110"/>
                    <a:pt x="46" y="104"/>
                  </a:cubicBezTo>
                  <a:cubicBezTo>
                    <a:pt x="33" y="92"/>
                    <a:pt x="23" y="76"/>
                    <a:pt x="20" y="63"/>
                  </a:cubicBezTo>
                  <a:cubicBezTo>
                    <a:pt x="16" y="48"/>
                    <a:pt x="23" y="32"/>
                    <a:pt x="3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3" name="Group 56"/>
          <p:cNvGrpSpPr>
            <a:grpSpLocks noChangeAspect="1"/>
          </p:cNvGrpSpPr>
          <p:nvPr/>
        </p:nvGrpSpPr>
        <p:grpSpPr bwMode="auto">
          <a:xfrm>
            <a:off x="4861621" y="3619499"/>
            <a:ext cx="539711" cy="703305"/>
            <a:chOff x="1002" y="1508"/>
            <a:chExt cx="353" cy="460"/>
          </a:xfrm>
          <a:solidFill>
            <a:schemeClr val="bg1"/>
          </a:solidFill>
        </p:grpSpPr>
        <p:sp>
          <p:nvSpPr>
            <p:cNvPr id="94" name="Oval 57"/>
            <p:cNvSpPr>
              <a:spLocks noChangeArrowheads="1"/>
            </p:cNvSpPr>
            <p:nvPr/>
          </p:nvSpPr>
          <p:spPr bwMode="auto">
            <a:xfrm>
              <a:off x="1253" y="1644"/>
              <a:ext cx="88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58"/>
            <p:cNvSpPr>
              <a:spLocks/>
            </p:cNvSpPr>
            <p:nvPr/>
          </p:nvSpPr>
          <p:spPr bwMode="auto">
            <a:xfrm>
              <a:off x="1165" y="1742"/>
              <a:ext cx="190" cy="226"/>
            </a:xfrm>
            <a:custGeom>
              <a:avLst/>
              <a:gdLst>
                <a:gd name="T0" fmla="*/ 134 w 136"/>
                <a:gd name="T1" fmla="*/ 16 h 162"/>
                <a:gd name="T2" fmla="*/ 94 w 136"/>
                <a:gd name="T3" fmla="*/ 0 h 162"/>
                <a:gd name="T4" fmla="*/ 6 w 136"/>
                <a:gd name="T5" fmla="*/ 43 h 162"/>
                <a:gd name="T6" fmla="*/ 7 w 136"/>
                <a:gd name="T7" fmla="*/ 66 h 162"/>
                <a:gd name="T8" fmla="*/ 30 w 136"/>
                <a:gd name="T9" fmla="*/ 65 h 162"/>
                <a:gd name="T10" fmla="*/ 55 w 136"/>
                <a:gd name="T11" fmla="*/ 45 h 162"/>
                <a:gd name="T12" fmla="*/ 75 w 136"/>
                <a:gd name="T13" fmla="*/ 154 h 162"/>
                <a:gd name="T14" fmla="*/ 80 w 136"/>
                <a:gd name="T15" fmla="*/ 162 h 162"/>
                <a:gd name="T16" fmla="*/ 108 w 136"/>
                <a:gd name="T17" fmla="*/ 162 h 162"/>
                <a:gd name="T18" fmla="*/ 114 w 136"/>
                <a:gd name="T19" fmla="*/ 154 h 162"/>
                <a:gd name="T20" fmla="*/ 134 w 136"/>
                <a:gd name="T21" fmla="*/ 1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" h="162">
                  <a:moveTo>
                    <a:pt x="134" y="16"/>
                  </a:moveTo>
                  <a:cubicBezTo>
                    <a:pt x="134" y="7"/>
                    <a:pt x="115" y="0"/>
                    <a:pt x="94" y="0"/>
                  </a:cubicBezTo>
                  <a:cubicBezTo>
                    <a:pt x="56" y="0"/>
                    <a:pt x="21" y="27"/>
                    <a:pt x="6" y="43"/>
                  </a:cubicBezTo>
                  <a:cubicBezTo>
                    <a:pt x="0" y="50"/>
                    <a:pt x="1" y="60"/>
                    <a:pt x="7" y="66"/>
                  </a:cubicBezTo>
                  <a:cubicBezTo>
                    <a:pt x="14" y="72"/>
                    <a:pt x="24" y="71"/>
                    <a:pt x="30" y="65"/>
                  </a:cubicBezTo>
                  <a:cubicBezTo>
                    <a:pt x="37" y="57"/>
                    <a:pt x="46" y="50"/>
                    <a:pt x="55" y="45"/>
                  </a:cubicBezTo>
                  <a:cubicBezTo>
                    <a:pt x="57" y="71"/>
                    <a:pt x="62" y="111"/>
                    <a:pt x="75" y="154"/>
                  </a:cubicBezTo>
                  <a:cubicBezTo>
                    <a:pt x="76" y="160"/>
                    <a:pt x="77" y="162"/>
                    <a:pt x="80" y="162"/>
                  </a:cubicBezTo>
                  <a:cubicBezTo>
                    <a:pt x="80" y="162"/>
                    <a:pt x="108" y="162"/>
                    <a:pt x="108" y="162"/>
                  </a:cubicBezTo>
                  <a:cubicBezTo>
                    <a:pt x="112" y="162"/>
                    <a:pt x="112" y="160"/>
                    <a:pt x="114" y="154"/>
                  </a:cubicBezTo>
                  <a:cubicBezTo>
                    <a:pt x="136" y="82"/>
                    <a:pt x="134" y="16"/>
                    <a:pt x="13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Oval 59"/>
            <p:cNvSpPr>
              <a:spLocks noChangeArrowheads="1"/>
            </p:cNvSpPr>
            <p:nvPr/>
          </p:nvSpPr>
          <p:spPr bwMode="auto">
            <a:xfrm>
              <a:off x="1025" y="1508"/>
              <a:ext cx="124" cy="1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60"/>
            <p:cNvSpPr>
              <a:spLocks/>
            </p:cNvSpPr>
            <p:nvPr/>
          </p:nvSpPr>
          <p:spPr bwMode="auto">
            <a:xfrm>
              <a:off x="1002" y="1647"/>
              <a:ext cx="212" cy="321"/>
            </a:xfrm>
            <a:custGeom>
              <a:avLst/>
              <a:gdLst>
                <a:gd name="T0" fmla="*/ 149 w 151"/>
                <a:gd name="T1" fmla="*/ 116 h 230"/>
                <a:gd name="T2" fmla="*/ 118 w 151"/>
                <a:gd name="T3" fmla="*/ 25 h 230"/>
                <a:gd name="T4" fmla="*/ 61 w 151"/>
                <a:gd name="T5" fmla="*/ 0 h 230"/>
                <a:gd name="T6" fmla="*/ 4 w 151"/>
                <a:gd name="T7" fmla="*/ 23 h 230"/>
                <a:gd name="T8" fmla="*/ 8 w 151"/>
                <a:gd name="T9" fmla="*/ 116 h 230"/>
                <a:gd name="T10" fmla="*/ 19 w 151"/>
                <a:gd name="T11" fmla="*/ 138 h 230"/>
                <a:gd name="T12" fmla="*/ 32 w 151"/>
                <a:gd name="T13" fmla="*/ 219 h 230"/>
                <a:gd name="T14" fmla="*/ 41 w 151"/>
                <a:gd name="T15" fmla="*/ 230 h 230"/>
                <a:gd name="T16" fmla="*/ 76 w 151"/>
                <a:gd name="T17" fmla="*/ 230 h 230"/>
                <a:gd name="T18" fmla="*/ 80 w 151"/>
                <a:gd name="T19" fmla="*/ 230 h 230"/>
                <a:gd name="T20" fmla="*/ 80 w 151"/>
                <a:gd name="T21" fmla="*/ 230 h 230"/>
                <a:gd name="T22" fmla="*/ 87 w 151"/>
                <a:gd name="T23" fmla="*/ 219 h 230"/>
                <a:gd name="T24" fmla="*/ 107 w 151"/>
                <a:gd name="T25" fmla="*/ 93 h 230"/>
                <a:gd name="T26" fmla="*/ 118 w 151"/>
                <a:gd name="T27" fmla="*/ 127 h 230"/>
                <a:gd name="T28" fmla="*/ 139 w 151"/>
                <a:gd name="T29" fmla="*/ 137 h 230"/>
                <a:gd name="T30" fmla="*/ 149 w 151"/>
                <a:gd name="T31" fmla="*/ 116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1" h="230">
                  <a:moveTo>
                    <a:pt x="149" y="116"/>
                  </a:moveTo>
                  <a:cubicBezTo>
                    <a:pt x="118" y="25"/>
                    <a:pt x="118" y="25"/>
                    <a:pt x="118" y="25"/>
                  </a:cubicBezTo>
                  <a:cubicBezTo>
                    <a:pt x="115" y="15"/>
                    <a:pt x="91" y="0"/>
                    <a:pt x="61" y="0"/>
                  </a:cubicBezTo>
                  <a:cubicBezTo>
                    <a:pt x="32" y="0"/>
                    <a:pt x="4" y="10"/>
                    <a:pt x="4" y="23"/>
                  </a:cubicBezTo>
                  <a:cubicBezTo>
                    <a:pt x="4" y="23"/>
                    <a:pt x="0" y="63"/>
                    <a:pt x="8" y="116"/>
                  </a:cubicBezTo>
                  <a:cubicBezTo>
                    <a:pt x="10" y="128"/>
                    <a:pt x="16" y="125"/>
                    <a:pt x="19" y="138"/>
                  </a:cubicBezTo>
                  <a:cubicBezTo>
                    <a:pt x="22" y="156"/>
                    <a:pt x="27" y="201"/>
                    <a:pt x="32" y="219"/>
                  </a:cubicBezTo>
                  <a:cubicBezTo>
                    <a:pt x="35" y="228"/>
                    <a:pt x="36" y="230"/>
                    <a:pt x="41" y="230"/>
                  </a:cubicBezTo>
                  <a:cubicBezTo>
                    <a:pt x="41" y="230"/>
                    <a:pt x="70" y="230"/>
                    <a:pt x="76" y="230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84" y="229"/>
                    <a:pt x="86" y="227"/>
                    <a:pt x="87" y="219"/>
                  </a:cubicBezTo>
                  <a:cubicBezTo>
                    <a:pt x="94" y="185"/>
                    <a:pt x="101" y="134"/>
                    <a:pt x="107" y="93"/>
                  </a:cubicBezTo>
                  <a:cubicBezTo>
                    <a:pt x="118" y="127"/>
                    <a:pt x="118" y="127"/>
                    <a:pt x="118" y="127"/>
                  </a:cubicBezTo>
                  <a:cubicBezTo>
                    <a:pt x="121" y="135"/>
                    <a:pt x="130" y="139"/>
                    <a:pt x="139" y="137"/>
                  </a:cubicBezTo>
                  <a:cubicBezTo>
                    <a:pt x="147" y="134"/>
                    <a:pt x="151" y="125"/>
                    <a:pt x="149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16608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355922" y="627534"/>
            <a:ext cx="6448326" cy="432048"/>
          </a:xfrm>
        </p:spPr>
        <p:txBody>
          <a:bodyPr/>
          <a:lstStyle/>
          <a:p>
            <a:r>
              <a:rPr lang="es-CL" dirty="0"/>
              <a:t>En caso de que tengas más de un sueño, ¿en qué categoría ubicarías el que es más importante para ti?</a:t>
            </a:r>
          </a:p>
        </p:txBody>
      </p:sp>
      <p:sp>
        <p:nvSpPr>
          <p:cNvPr id="7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9" name="8 Rectángulo"/>
          <p:cNvSpPr/>
          <p:nvPr/>
        </p:nvSpPr>
        <p:spPr bwMode="gray">
          <a:xfrm>
            <a:off x="323850" y="1347614"/>
            <a:ext cx="3888110" cy="86409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11" name="10 Rectángulo"/>
          <p:cNvSpPr/>
          <p:nvPr/>
        </p:nvSpPr>
        <p:spPr bwMode="gray">
          <a:xfrm>
            <a:off x="323850" y="1347614"/>
            <a:ext cx="1799878" cy="86409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 bwMode="gray">
          <a:xfrm>
            <a:off x="2195736" y="1563638"/>
            <a:ext cx="1944055" cy="7200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sz="1200" b="1" dirty="0" smtClean="0">
                <a:latin typeface="Arial"/>
              </a:rPr>
              <a:t>Arreglar o renovar una vivienda</a:t>
            </a:r>
          </a:p>
        </p:txBody>
      </p:sp>
      <p:sp>
        <p:nvSpPr>
          <p:cNvPr id="14" name="13 CuadroTexto"/>
          <p:cNvSpPr txBox="1"/>
          <p:nvPr/>
        </p:nvSpPr>
        <p:spPr bwMode="gray">
          <a:xfrm>
            <a:off x="1331640" y="1635646"/>
            <a:ext cx="648072" cy="3068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b="1" dirty="0">
                <a:solidFill>
                  <a:schemeClr val="bg1"/>
                </a:solidFill>
                <a:latin typeface="Arial"/>
              </a:rPr>
              <a:t>4</a:t>
            </a:r>
            <a:r>
              <a:rPr lang="es-CL" b="1" dirty="0" smtClean="0">
                <a:solidFill>
                  <a:schemeClr val="bg1"/>
                </a:solidFill>
                <a:latin typeface="Arial"/>
              </a:rPr>
              <a:t>%</a:t>
            </a:r>
          </a:p>
        </p:txBody>
      </p:sp>
      <p:sp>
        <p:nvSpPr>
          <p:cNvPr id="19" name="18 Rectángulo"/>
          <p:cNvSpPr/>
          <p:nvPr/>
        </p:nvSpPr>
        <p:spPr bwMode="gray">
          <a:xfrm>
            <a:off x="332234" y="2427734"/>
            <a:ext cx="3888110" cy="86409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20" name="19 Rectángulo"/>
          <p:cNvSpPr/>
          <p:nvPr/>
        </p:nvSpPr>
        <p:spPr bwMode="gray">
          <a:xfrm>
            <a:off x="332234" y="2427734"/>
            <a:ext cx="1799878" cy="86409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21" name="20 CuadroTexto"/>
          <p:cNvSpPr txBox="1"/>
          <p:nvPr/>
        </p:nvSpPr>
        <p:spPr bwMode="gray">
          <a:xfrm>
            <a:off x="2204120" y="2643758"/>
            <a:ext cx="1944055" cy="7200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sz="1200" b="1" dirty="0" smtClean="0">
                <a:latin typeface="Arial"/>
              </a:rPr>
              <a:t>Desarrollar un talento o habilidad</a:t>
            </a:r>
          </a:p>
        </p:txBody>
      </p:sp>
      <p:sp>
        <p:nvSpPr>
          <p:cNvPr id="23" name="22 CuadroTexto"/>
          <p:cNvSpPr txBox="1"/>
          <p:nvPr/>
        </p:nvSpPr>
        <p:spPr bwMode="gray">
          <a:xfrm>
            <a:off x="1340024" y="2715766"/>
            <a:ext cx="648072" cy="3068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b="1" dirty="0">
                <a:solidFill>
                  <a:schemeClr val="bg1"/>
                </a:solidFill>
                <a:latin typeface="Arial"/>
              </a:rPr>
              <a:t>3</a:t>
            </a:r>
            <a:r>
              <a:rPr lang="es-CL" b="1" dirty="0" smtClean="0">
                <a:solidFill>
                  <a:schemeClr val="bg1"/>
                </a:solidFill>
                <a:latin typeface="Arial"/>
              </a:rPr>
              <a:t>%</a:t>
            </a:r>
          </a:p>
        </p:txBody>
      </p:sp>
      <p:sp>
        <p:nvSpPr>
          <p:cNvPr id="38" name="37 Rectángulo"/>
          <p:cNvSpPr/>
          <p:nvPr/>
        </p:nvSpPr>
        <p:spPr bwMode="gray">
          <a:xfrm>
            <a:off x="332234" y="3516238"/>
            <a:ext cx="3888110" cy="86409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39" name="38 Rectángulo"/>
          <p:cNvSpPr/>
          <p:nvPr/>
        </p:nvSpPr>
        <p:spPr bwMode="gray">
          <a:xfrm>
            <a:off x="332234" y="3516238"/>
            <a:ext cx="1799878" cy="86409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40" name="39 CuadroTexto"/>
          <p:cNvSpPr txBox="1"/>
          <p:nvPr/>
        </p:nvSpPr>
        <p:spPr bwMode="gray">
          <a:xfrm>
            <a:off x="2204120" y="3795886"/>
            <a:ext cx="1944055" cy="7200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sz="1200" b="1" dirty="0" smtClean="0">
                <a:latin typeface="Arial"/>
              </a:rPr>
              <a:t>Tomarme un año sabático</a:t>
            </a:r>
          </a:p>
        </p:txBody>
      </p:sp>
      <p:sp>
        <p:nvSpPr>
          <p:cNvPr id="41" name="40 CuadroTexto"/>
          <p:cNvSpPr txBox="1"/>
          <p:nvPr/>
        </p:nvSpPr>
        <p:spPr bwMode="gray">
          <a:xfrm>
            <a:off x="1340024" y="3804270"/>
            <a:ext cx="648072" cy="3068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b="1" dirty="0">
                <a:solidFill>
                  <a:schemeClr val="bg1"/>
                </a:solidFill>
                <a:latin typeface="Arial"/>
              </a:rPr>
              <a:t>3</a:t>
            </a:r>
            <a:r>
              <a:rPr lang="es-CL" b="1" dirty="0" smtClean="0">
                <a:solidFill>
                  <a:schemeClr val="bg1"/>
                </a:solidFill>
                <a:latin typeface="Arial"/>
              </a:rPr>
              <a:t>%</a:t>
            </a:r>
          </a:p>
        </p:txBody>
      </p:sp>
      <p:sp>
        <p:nvSpPr>
          <p:cNvPr id="57" name="56 Rectángulo"/>
          <p:cNvSpPr/>
          <p:nvPr/>
        </p:nvSpPr>
        <p:spPr bwMode="gray">
          <a:xfrm>
            <a:off x="4572000" y="1334559"/>
            <a:ext cx="3888110" cy="86409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58" name="57 Rectángulo"/>
          <p:cNvSpPr/>
          <p:nvPr/>
        </p:nvSpPr>
        <p:spPr bwMode="gray">
          <a:xfrm>
            <a:off x="4572000" y="1334559"/>
            <a:ext cx="1799878" cy="86409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59" name="58 CuadroTexto"/>
          <p:cNvSpPr txBox="1"/>
          <p:nvPr/>
        </p:nvSpPr>
        <p:spPr bwMode="gray">
          <a:xfrm>
            <a:off x="6443886" y="1563638"/>
            <a:ext cx="1944055" cy="7200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sz="1200" b="1" dirty="0" smtClean="0">
                <a:latin typeface="Arial"/>
              </a:rPr>
              <a:t>Estudiar una carrera o hacer un posgrado</a:t>
            </a:r>
          </a:p>
        </p:txBody>
      </p:sp>
      <p:sp>
        <p:nvSpPr>
          <p:cNvPr id="61" name="60 CuadroTexto"/>
          <p:cNvSpPr txBox="1"/>
          <p:nvPr/>
        </p:nvSpPr>
        <p:spPr bwMode="gray">
          <a:xfrm>
            <a:off x="5579790" y="1622591"/>
            <a:ext cx="648072" cy="3068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b="1" dirty="0" smtClean="0">
                <a:solidFill>
                  <a:schemeClr val="bg1"/>
                </a:solidFill>
                <a:latin typeface="Arial"/>
              </a:rPr>
              <a:t>3%</a:t>
            </a:r>
          </a:p>
        </p:txBody>
      </p:sp>
      <p:sp>
        <p:nvSpPr>
          <p:cNvPr id="62" name="61 Rectángulo"/>
          <p:cNvSpPr/>
          <p:nvPr/>
        </p:nvSpPr>
        <p:spPr bwMode="gray">
          <a:xfrm>
            <a:off x="4580384" y="2414679"/>
            <a:ext cx="3888110" cy="86409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63" name="62 Rectángulo"/>
          <p:cNvSpPr/>
          <p:nvPr/>
        </p:nvSpPr>
        <p:spPr bwMode="gray">
          <a:xfrm>
            <a:off x="4580384" y="2414679"/>
            <a:ext cx="1799878" cy="86409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64" name="63 CuadroTexto"/>
          <p:cNvSpPr txBox="1"/>
          <p:nvPr/>
        </p:nvSpPr>
        <p:spPr bwMode="gray">
          <a:xfrm>
            <a:off x="6452270" y="2715766"/>
            <a:ext cx="1944055" cy="7200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 err="1" smtClean="0">
                <a:latin typeface="Arial"/>
              </a:rPr>
              <a:t>Aprender</a:t>
            </a:r>
            <a:r>
              <a:rPr lang="en-US" sz="1200" b="1" dirty="0" smtClean="0">
                <a:latin typeface="Arial"/>
              </a:rPr>
              <a:t> </a:t>
            </a:r>
            <a:r>
              <a:rPr lang="en-US" sz="1200" b="1" dirty="0" err="1" smtClean="0">
                <a:latin typeface="Arial"/>
              </a:rPr>
              <a:t>otro</a:t>
            </a:r>
            <a:r>
              <a:rPr lang="en-US" sz="1200" b="1" dirty="0" smtClean="0">
                <a:latin typeface="Arial"/>
              </a:rPr>
              <a:t> </a:t>
            </a:r>
            <a:r>
              <a:rPr lang="en-US" sz="1200" b="1" dirty="0" err="1" smtClean="0">
                <a:latin typeface="Arial"/>
              </a:rPr>
              <a:t>idioma</a:t>
            </a:r>
            <a:endParaRPr lang="es-CL" sz="1200" b="1" dirty="0" smtClean="0">
              <a:latin typeface="Arial"/>
            </a:endParaRPr>
          </a:p>
        </p:txBody>
      </p:sp>
      <p:sp>
        <p:nvSpPr>
          <p:cNvPr id="65" name="64 CuadroTexto"/>
          <p:cNvSpPr txBox="1"/>
          <p:nvPr/>
        </p:nvSpPr>
        <p:spPr bwMode="gray">
          <a:xfrm>
            <a:off x="5588174" y="2702711"/>
            <a:ext cx="648072" cy="3068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b="1" dirty="0" smtClean="0">
                <a:solidFill>
                  <a:schemeClr val="bg1"/>
                </a:solidFill>
                <a:latin typeface="Arial"/>
              </a:rPr>
              <a:t>3%</a:t>
            </a:r>
          </a:p>
        </p:txBody>
      </p:sp>
      <p:sp>
        <p:nvSpPr>
          <p:cNvPr id="78" name="77 Rectángulo"/>
          <p:cNvSpPr/>
          <p:nvPr/>
        </p:nvSpPr>
        <p:spPr bwMode="gray">
          <a:xfrm>
            <a:off x="4571678" y="3516238"/>
            <a:ext cx="3888110" cy="86409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79" name="78 Rectángulo"/>
          <p:cNvSpPr/>
          <p:nvPr/>
        </p:nvSpPr>
        <p:spPr bwMode="gray">
          <a:xfrm>
            <a:off x="4571678" y="3516238"/>
            <a:ext cx="1799878" cy="86409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80" name="79 CuadroTexto"/>
          <p:cNvSpPr txBox="1"/>
          <p:nvPr/>
        </p:nvSpPr>
        <p:spPr bwMode="gray">
          <a:xfrm>
            <a:off x="6443564" y="3751051"/>
            <a:ext cx="1944055" cy="7200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 err="1" smtClean="0">
                <a:latin typeface="Arial"/>
              </a:rPr>
              <a:t>Encontrar</a:t>
            </a:r>
            <a:r>
              <a:rPr lang="en-US" sz="1200" b="1" dirty="0" smtClean="0">
                <a:latin typeface="Arial"/>
              </a:rPr>
              <a:t> un </a:t>
            </a:r>
            <a:r>
              <a:rPr lang="en-US" sz="1200" b="1" dirty="0" err="1" smtClean="0">
                <a:latin typeface="Arial"/>
              </a:rPr>
              <a:t>nuevo</a:t>
            </a:r>
            <a:r>
              <a:rPr lang="en-US" sz="1200" b="1" dirty="0" smtClean="0">
                <a:latin typeface="Arial"/>
              </a:rPr>
              <a:t> </a:t>
            </a:r>
            <a:r>
              <a:rPr lang="en-US" sz="1200" b="1" dirty="0" err="1" smtClean="0">
                <a:latin typeface="Arial"/>
              </a:rPr>
              <a:t>trabajo</a:t>
            </a:r>
            <a:endParaRPr lang="es-CL" sz="1200" b="1" dirty="0" smtClean="0">
              <a:latin typeface="Arial"/>
            </a:endParaRPr>
          </a:p>
        </p:txBody>
      </p:sp>
      <p:sp>
        <p:nvSpPr>
          <p:cNvPr id="81" name="80 CuadroTexto"/>
          <p:cNvSpPr txBox="1"/>
          <p:nvPr/>
        </p:nvSpPr>
        <p:spPr bwMode="gray">
          <a:xfrm>
            <a:off x="5579468" y="3804270"/>
            <a:ext cx="648072" cy="3068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b="1" dirty="0">
                <a:solidFill>
                  <a:schemeClr val="bg1"/>
                </a:solidFill>
                <a:latin typeface="Arial"/>
              </a:rPr>
              <a:t>2</a:t>
            </a:r>
            <a:r>
              <a:rPr lang="es-CL" b="1" dirty="0" smtClean="0">
                <a:solidFill>
                  <a:schemeClr val="bg1"/>
                </a:solidFill>
                <a:latin typeface="Arial"/>
              </a:rPr>
              <a:t>%</a:t>
            </a:r>
          </a:p>
        </p:txBody>
      </p:sp>
      <p:grpSp>
        <p:nvGrpSpPr>
          <p:cNvPr id="60" name="Group 90"/>
          <p:cNvGrpSpPr>
            <a:grpSpLocks noChangeAspect="1"/>
          </p:cNvGrpSpPr>
          <p:nvPr/>
        </p:nvGrpSpPr>
        <p:grpSpPr bwMode="auto">
          <a:xfrm>
            <a:off x="524308" y="1466850"/>
            <a:ext cx="591307" cy="666792"/>
            <a:chOff x="2942" y="1409"/>
            <a:chExt cx="517" cy="583"/>
          </a:xfrm>
          <a:solidFill>
            <a:schemeClr val="bg1"/>
          </a:solidFill>
        </p:grpSpPr>
        <p:sp>
          <p:nvSpPr>
            <p:cNvPr id="66" name="Oval 91"/>
            <p:cNvSpPr>
              <a:spLocks noChangeArrowheads="1"/>
            </p:cNvSpPr>
            <p:nvPr/>
          </p:nvSpPr>
          <p:spPr bwMode="auto">
            <a:xfrm>
              <a:off x="3130" y="1425"/>
              <a:ext cx="170" cy="16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7" name="Freeform 92"/>
            <p:cNvSpPr>
              <a:spLocks/>
            </p:cNvSpPr>
            <p:nvPr/>
          </p:nvSpPr>
          <p:spPr bwMode="auto">
            <a:xfrm>
              <a:off x="2965" y="1496"/>
              <a:ext cx="409" cy="496"/>
            </a:xfrm>
            <a:custGeom>
              <a:avLst/>
              <a:gdLst>
                <a:gd name="T0" fmla="*/ 160 w 173"/>
                <a:gd name="T1" fmla="*/ 102 h 210"/>
                <a:gd name="T2" fmla="*/ 172 w 173"/>
                <a:gd name="T3" fmla="*/ 101 h 210"/>
                <a:gd name="T4" fmla="*/ 109 w 173"/>
                <a:gd name="T5" fmla="*/ 49 h 210"/>
                <a:gd name="T6" fmla="*/ 101 w 173"/>
                <a:gd name="T7" fmla="*/ 49 h 210"/>
                <a:gd name="T8" fmla="*/ 86 w 173"/>
                <a:gd name="T9" fmla="*/ 59 h 210"/>
                <a:gd name="T10" fmla="*/ 45 w 173"/>
                <a:gd name="T11" fmla="*/ 50 h 210"/>
                <a:gd name="T12" fmla="*/ 43 w 173"/>
                <a:gd name="T13" fmla="*/ 48 h 210"/>
                <a:gd name="T14" fmla="*/ 57 w 173"/>
                <a:gd name="T15" fmla="*/ 25 h 210"/>
                <a:gd name="T16" fmla="*/ 59 w 173"/>
                <a:gd name="T17" fmla="*/ 22 h 210"/>
                <a:gd name="T18" fmla="*/ 58 w 173"/>
                <a:gd name="T19" fmla="*/ 19 h 210"/>
                <a:gd name="T20" fmla="*/ 55 w 173"/>
                <a:gd name="T21" fmla="*/ 2 h 210"/>
                <a:gd name="T22" fmla="*/ 52 w 173"/>
                <a:gd name="T23" fmla="*/ 0 h 210"/>
                <a:gd name="T24" fmla="*/ 2 w 173"/>
                <a:gd name="T25" fmla="*/ 10 h 210"/>
                <a:gd name="T26" fmla="*/ 0 w 173"/>
                <a:gd name="T27" fmla="*/ 13 h 210"/>
                <a:gd name="T28" fmla="*/ 4 w 173"/>
                <a:gd name="T29" fmla="*/ 30 h 210"/>
                <a:gd name="T30" fmla="*/ 4 w 173"/>
                <a:gd name="T31" fmla="*/ 33 h 210"/>
                <a:gd name="T32" fmla="*/ 7 w 173"/>
                <a:gd name="T33" fmla="*/ 35 h 210"/>
                <a:gd name="T34" fmla="*/ 30 w 173"/>
                <a:gd name="T35" fmla="*/ 53 h 210"/>
                <a:gd name="T36" fmla="*/ 34 w 173"/>
                <a:gd name="T37" fmla="*/ 87 h 210"/>
                <a:gd name="T38" fmla="*/ 41 w 173"/>
                <a:gd name="T39" fmla="*/ 110 h 210"/>
                <a:gd name="T40" fmla="*/ 44 w 173"/>
                <a:gd name="T41" fmla="*/ 113 h 210"/>
                <a:gd name="T42" fmla="*/ 53 w 173"/>
                <a:gd name="T43" fmla="*/ 111 h 210"/>
                <a:gd name="T44" fmla="*/ 55 w 173"/>
                <a:gd name="T45" fmla="*/ 107 h 210"/>
                <a:gd name="T46" fmla="*/ 52 w 173"/>
                <a:gd name="T47" fmla="*/ 85 h 210"/>
                <a:gd name="T48" fmla="*/ 73 w 173"/>
                <a:gd name="T49" fmla="*/ 95 h 210"/>
                <a:gd name="T50" fmla="*/ 63 w 173"/>
                <a:gd name="T51" fmla="*/ 203 h 210"/>
                <a:gd name="T52" fmla="*/ 69 w 173"/>
                <a:gd name="T53" fmla="*/ 210 h 210"/>
                <a:gd name="T54" fmla="*/ 84 w 173"/>
                <a:gd name="T55" fmla="*/ 210 h 210"/>
                <a:gd name="T56" fmla="*/ 93 w 173"/>
                <a:gd name="T57" fmla="*/ 210 h 210"/>
                <a:gd name="T58" fmla="*/ 100 w 173"/>
                <a:gd name="T59" fmla="*/ 203 h 210"/>
                <a:gd name="T60" fmla="*/ 102 w 173"/>
                <a:gd name="T61" fmla="*/ 153 h 210"/>
                <a:gd name="T62" fmla="*/ 106 w 173"/>
                <a:gd name="T63" fmla="*/ 149 h 210"/>
                <a:gd name="T64" fmla="*/ 109 w 173"/>
                <a:gd name="T65" fmla="*/ 153 h 210"/>
                <a:gd name="T66" fmla="*/ 111 w 173"/>
                <a:gd name="T67" fmla="*/ 203 h 210"/>
                <a:gd name="T68" fmla="*/ 118 w 173"/>
                <a:gd name="T69" fmla="*/ 210 h 210"/>
                <a:gd name="T70" fmla="*/ 127 w 173"/>
                <a:gd name="T71" fmla="*/ 210 h 210"/>
                <a:gd name="T72" fmla="*/ 143 w 173"/>
                <a:gd name="T73" fmla="*/ 210 h 210"/>
                <a:gd name="T74" fmla="*/ 149 w 173"/>
                <a:gd name="T75" fmla="*/ 203 h 210"/>
                <a:gd name="T76" fmla="*/ 138 w 173"/>
                <a:gd name="T77" fmla="*/ 92 h 210"/>
                <a:gd name="T78" fmla="*/ 135 w 173"/>
                <a:gd name="T79" fmla="*/ 83 h 210"/>
                <a:gd name="T80" fmla="*/ 160 w 173"/>
                <a:gd name="T81" fmla="*/ 10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3" h="210">
                  <a:moveTo>
                    <a:pt x="160" y="102"/>
                  </a:moveTo>
                  <a:cubicBezTo>
                    <a:pt x="164" y="109"/>
                    <a:pt x="172" y="106"/>
                    <a:pt x="172" y="101"/>
                  </a:cubicBezTo>
                  <a:cubicBezTo>
                    <a:pt x="173" y="83"/>
                    <a:pt x="158" y="46"/>
                    <a:pt x="109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94" y="49"/>
                    <a:pt x="89" y="53"/>
                    <a:pt x="86" y="59"/>
                  </a:cubicBezTo>
                  <a:cubicBezTo>
                    <a:pt x="68" y="71"/>
                    <a:pt x="53" y="58"/>
                    <a:pt x="45" y="50"/>
                  </a:cubicBezTo>
                  <a:cubicBezTo>
                    <a:pt x="45" y="49"/>
                    <a:pt x="44" y="48"/>
                    <a:pt x="43" y="48"/>
                  </a:cubicBezTo>
                  <a:cubicBezTo>
                    <a:pt x="44" y="41"/>
                    <a:pt x="47" y="31"/>
                    <a:pt x="57" y="25"/>
                  </a:cubicBezTo>
                  <a:cubicBezTo>
                    <a:pt x="58" y="24"/>
                    <a:pt x="59" y="23"/>
                    <a:pt x="59" y="22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4" y="1"/>
                    <a:pt x="53" y="0"/>
                    <a:pt x="52" y="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11"/>
                    <a:pt x="0" y="12"/>
                    <a:pt x="0" y="13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5" y="34"/>
                    <a:pt x="6" y="35"/>
                    <a:pt x="7" y="35"/>
                  </a:cubicBezTo>
                  <a:cubicBezTo>
                    <a:pt x="20" y="36"/>
                    <a:pt x="27" y="46"/>
                    <a:pt x="30" y="53"/>
                  </a:cubicBezTo>
                  <a:cubicBezTo>
                    <a:pt x="32" y="59"/>
                    <a:pt x="32" y="72"/>
                    <a:pt x="34" y="87"/>
                  </a:cubicBezTo>
                  <a:cubicBezTo>
                    <a:pt x="36" y="98"/>
                    <a:pt x="39" y="106"/>
                    <a:pt x="41" y="110"/>
                  </a:cubicBezTo>
                  <a:cubicBezTo>
                    <a:pt x="41" y="111"/>
                    <a:pt x="42" y="113"/>
                    <a:pt x="44" y="113"/>
                  </a:cubicBezTo>
                  <a:cubicBezTo>
                    <a:pt x="47" y="113"/>
                    <a:pt x="50" y="112"/>
                    <a:pt x="53" y="111"/>
                  </a:cubicBezTo>
                  <a:cubicBezTo>
                    <a:pt x="54" y="110"/>
                    <a:pt x="55" y="109"/>
                    <a:pt x="55" y="107"/>
                  </a:cubicBezTo>
                  <a:cubicBezTo>
                    <a:pt x="55" y="103"/>
                    <a:pt x="54" y="95"/>
                    <a:pt x="52" y="85"/>
                  </a:cubicBezTo>
                  <a:cubicBezTo>
                    <a:pt x="58" y="90"/>
                    <a:pt x="65" y="94"/>
                    <a:pt x="73" y="95"/>
                  </a:cubicBezTo>
                  <a:cubicBezTo>
                    <a:pt x="71" y="114"/>
                    <a:pt x="64" y="182"/>
                    <a:pt x="63" y="203"/>
                  </a:cubicBezTo>
                  <a:cubicBezTo>
                    <a:pt x="62" y="207"/>
                    <a:pt x="65" y="210"/>
                    <a:pt x="69" y="210"/>
                  </a:cubicBezTo>
                  <a:cubicBezTo>
                    <a:pt x="84" y="210"/>
                    <a:pt x="84" y="210"/>
                    <a:pt x="84" y="210"/>
                  </a:cubicBezTo>
                  <a:cubicBezTo>
                    <a:pt x="93" y="210"/>
                    <a:pt x="93" y="210"/>
                    <a:pt x="93" y="210"/>
                  </a:cubicBezTo>
                  <a:cubicBezTo>
                    <a:pt x="97" y="210"/>
                    <a:pt x="100" y="207"/>
                    <a:pt x="100" y="203"/>
                  </a:cubicBezTo>
                  <a:cubicBezTo>
                    <a:pt x="102" y="153"/>
                    <a:pt x="102" y="153"/>
                    <a:pt x="102" y="153"/>
                  </a:cubicBezTo>
                  <a:cubicBezTo>
                    <a:pt x="102" y="151"/>
                    <a:pt x="104" y="149"/>
                    <a:pt x="106" y="149"/>
                  </a:cubicBezTo>
                  <a:cubicBezTo>
                    <a:pt x="107" y="149"/>
                    <a:pt x="109" y="151"/>
                    <a:pt x="109" y="15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207"/>
                    <a:pt x="114" y="210"/>
                    <a:pt x="118" y="210"/>
                  </a:cubicBezTo>
                  <a:cubicBezTo>
                    <a:pt x="127" y="210"/>
                    <a:pt x="127" y="210"/>
                    <a:pt x="127" y="210"/>
                  </a:cubicBezTo>
                  <a:cubicBezTo>
                    <a:pt x="143" y="210"/>
                    <a:pt x="143" y="210"/>
                    <a:pt x="143" y="210"/>
                  </a:cubicBezTo>
                  <a:cubicBezTo>
                    <a:pt x="146" y="210"/>
                    <a:pt x="149" y="207"/>
                    <a:pt x="149" y="203"/>
                  </a:cubicBezTo>
                  <a:cubicBezTo>
                    <a:pt x="147" y="180"/>
                    <a:pt x="140" y="105"/>
                    <a:pt x="138" y="92"/>
                  </a:cubicBezTo>
                  <a:cubicBezTo>
                    <a:pt x="137" y="89"/>
                    <a:pt x="136" y="86"/>
                    <a:pt x="135" y="83"/>
                  </a:cubicBezTo>
                  <a:cubicBezTo>
                    <a:pt x="147" y="84"/>
                    <a:pt x="156" y="95"/>
                    <a:pt x="160" y="1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8" name="Freeform 93"/>
            <p:cNvSpPr>
              <a:spLocks noEditPoints="1"/>
            </p:cNvSpPr>
            <p:nvPr/>
          </p:nvSpPr>
          <p:spPr bwMode="auto">
            <a:xfrm>
              <a:off x="3324" y="1758"/>
              <a:ext cx="135" cy="177"/>
            </a:xfrm>
            <a:custGeom>
              <a:avLst/>
              <a:gdLst>
                <a:gd name="T0" fmla="*/ 17 w 57"/>
                <a:gd name="T1" fmla="*/ 1 h 75"/>
                <a:gd name="T2" fmla="*/ 14 w 57"/>
                <a:gd name="T3" fmla="*/ 8 h 75"/>
                <a:gd name="T4" fmla="*/ 19 w 57"/>
                <a:gd name="T5" fmla="*/ 23 h 75"/>
                <a:gd name="T6" fmla="*/ 5 w 57"/>
                <a:gd name="T7" fmla="*/ 23 h 75"/>
                <a:gd name="T8" fmla="*/ 1 w 57"/>
                <a:gd name="T9" fmla="*/ 25 h 75"/>
                <a:gd name="T10" fmla="*/ 0 w 57"/>
                <a:gd name="T11" fmla="*/ 29 h 75"/>
                <a:gd name="T12" fmla="*/ 5 w 57"/>
                <a:gd name="T13" fmla="*/ 70 h 75"/>
                <a:gd name="T14" fmla="*/ 11 w 57"/>
                <a:gd name="T15" fmla="*/ 75 h 75"/>
                <a:gd name="T16" fmla="*/ 45 w 57"/>
                <a:gd name="T17" fmla="*/ 75 h 75"/>
                <a:gd name="T18" fmla="*/ 51 w 57"/>
                <a:gd name="T19" fmla="*/ 70 h 75"/>
                <a:gd name="T20" fmla="*/ 57 w 57"/>
                <a:gd name="T21" fmla="*/ 29 h 75"/>
                <a:gd name="T22" fmla="*/ 55 w 57"/>
                <a:gd name="T23" fmla="*/ 25 h 75"/>
                <a:gd name="T24" fmla="*/ 51 w 57"/>
                <a:gd name="T25" fmla="*/ 23 h 75"/>
                <a:gd name="T26" fmla="*/ 31 w 57"/>
                <a:gd name="T27" fmla="*/ 23 h 75"/>
                <a:gd name="T28" fmla="*/ 25 w 57"/>
                <a:gd name="T29" fmla="*/ 5 h 75"/>
                <a:gd name="T30" fmla="*/ 17 w 57"/>
                <a:gd name="T31" fmla="*/ 1 h 75"/>
                <a:gd name="T32" fmla="*/ 33 w 57"/>
                <a:gd name="T33" fmla="*/ 31 h 75"/>
                <a:gd name="T34" fmla="*/ 33 w 57"/>
                <a:gd name="T35" fmla="*/ 32 h 75"/>
                <a:gd name="T36" fmla="*/ 30 w 57"/>
                <a:gd name="T37" fmla="*/ 35 h 75"/>
                <a:gd name="T38" fmla="*/ 29 w 57"/>
                <a:gd name="T39" fmla="*/ 35 h 75"/>
                <a:gd name="T40" fmla="*/ 27 w 57"/>
                <a:gd name="T41" fmla="*/ 32 h 75"/>
                <a:gd name="T42" fmla="*/ 27 w 57"/>
                <a:gd name="T43" fmla="*/ 31 h 75"/>
                <a:gd name="T44" fmla="*/ 30 w 57"/>
                <a:gd name="T45" fmla="*/ 29 h 75"/>
                <a:gd name="T46" fmla="*/ 33 w 57"/>
                <a:gd name="T47" fmla="*/ 30 h 75"/>
                <a:gd name="T48" fmla="*/ 33 w 57"/>
                <a:gd name="T49" fmla="*/ 31 h 75"/>
                <a:gd name="T50" fmla="*/ 43 w 57"/>
                <a:gd name="T51" fmla="*/ 67 h 75"/>
                <a:gd name="T52" fmla="*/ 13 w 57"/>
                <a:gd name="T53" fmla="*/ 67 h 75"/>
                <a:gd name="T54" fmla="*/ 11 w 57"/>
                <a:gd name="T55" fmla="*/ 49 h 75"/>
                <a:gd name="T56" fmla="*/ 11 w 57"/>
                <a:gd name="T57" fmla="*/ 49 h 75"/>
                <a:gd name="T58" fmla="*/ 16 w 57"/>
                <a:gd name="T59" fmla="*/ 44 h 75"/>
                <a:gd name="T60" fmla="*/ 16 w 57"/>
                <a:gd name="T61" fmla="*/ 39 h 75"/>
                <a:gd name="T62" fmla="*/ 19 w 57"/>
                <a:gd name="T63" fmla="*/ 36 h 75"/>
                <a:gd name="T64" fmla="*/ 21 w 57"/>
                <a:gd name="T65" fmla="*/ 39 h 75"/>
                <a:gd name="T66" fmla="*/ 21 w 57"/>
                <a:gd name="T67" fmla="*/ 46 h 75"/>
                <a:gd name="T68" fmla="*/ 28 w 57"/>
                <a:gd name="T69" fmla="*/ 53 h 75"/>
                <a:gd name="T70" fmla="*/ 35 w 57"/>
                <a:gd name="T71" fmla="*/ 46 h 75"/>
                <a:gd name="T72" fmla="*/ 35 w 57"/>
                <a:gd name="T73" fmla="*/ 44 h 75"/>
                <a:gd name="T74" fmla="*/ 38 w 57"/>
                <a:gd name="T75" fmla="*/ 40 h 75"/>
                <a:gd name="T76" fmla="*/ 39 w 57"/>
                <a:gd name="T77" fmla="*/ 40 h 75"/>
                <a:gd name="T78" fmla="*/ 42 w 57"/>
                <a:gd name="T79" fmla="*/ 43 h 75"/>
                <a:gd name="T80" fmla="*/ 42 w 57"/>
                <a:gd name="T81" fmla="*/ 43 h 75"/>
                <a:gd name="T82" fmla="*/ 46 w 57"/>
                <a:gd name="T83" fmla="*/ 48 h 75"/>
                <a:gd name="T84" fmla="*/ 43 w 57"/>
                <a:gd name="T85" fmla="*/ 6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" h="75">
                  <a:moveTo>
                    <a:pt x="17" y="1"/>
                  </a:moveTo>
                  <a:cubicBezTo>
                    <a:pt x="15" y="2"/>
                    <a:pt x="13" y="5"/>
                    <a:pt x="14" y="8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4" y="23"/>
                    <a:pt x="2" y="24"/>
                    <a:pt x="1" y="25"/>
                  </a:cubicBezTo>
                  <a:cubicBezTo>
                    <a:pt x="0" y="26"/>
                    <a:pt x="0" y="28"/>
                    <a:pt x="0" y="29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6" y="73"/>
                    <a:pt x="8" y="75"/>
                    <a:pt x="11" y="75"/>
                  </a:cubicBezTo>
                  <a:cubicBezTo>
                    <a:pt x="45" y="75"/>
                    <a:pt x="45" y="75"/>
                    <a:pt x="45" y="75"/>
                  </a:cubicBezTo>
                  <a:cubicBezTo>
                    <a:pt x="48" y="75"/>
                    <a:pt x="51" y="73"/>
                    <a:pt x="51" y="70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7" y="28"/>
                    <a:pt x="57" y="26"/>
                    <a:pt x="55" y="25"/>
                  </a:cubicBezTo>
                  <a:cubicBezTo>
                    <a:pt x="54" y="24"/>
                    <a:pt x="53" y="23"/>
                    <a:pt x="51" y="23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4" y="2"/>
                    <a:pt x="20" y="0"/>
                    <a:pt x="17" y="1"/>
                  </a:cubicBezTo>
                  <a:close/>
                  <a:moveTo>
                    <a:pt x="33" y="31"/>
                  </a:moveTo>
                  <a:cubicBezTo>
                    <a:pt x="33" y="31"/>
                    <a:pt x="33" y="32"/>
                    <a:pt x="33" y="32"/>
                  </a:cubicBezTo>
                  <a:cubicBezTo>
                    <a:pt x="33" y="34"/>
                    <a:pt x="32" y="35"/>
                    <a:pt x="30" y="35"/>
                  </a:cubicBezTo>
                  <a:cubicBezTo>
                    <a:pt x="30" y="35"/>
                    <a:pt x="29" y="35"/>
                    <a:pt x="29" y="35"/>
                  </a:cubicBezTo>
                  <a:cubicBezTo>
                    <a:pt x="28" y="34"/>
                    <a:pt x="27" y="33"/>
                    <a:pt x="27" y="32"/>
                  </a:cubicBezTo>
                  <a:cubicBezTo>
                    <a:pt x="27" y="32"/>
                    <a:pt x="27" y="31"/>
                    <a:pt x="27" y="31"/>
                  </a:cubicBezTo>
                  <a:cubicBezTo>
                    <a:pt x="27" y="30"/>
                    <a:pt x="29" y="29"/>
                    <a:pt x="30" y="29"/>
                  </a:cubicBezTo>
                  <a:cubicBezTo>
                    <a:pt x="31" y="29"/>
                    <a:pt x="32" y="29"/>
                    <a:pt x="33" y="30"/>
                  </a:cubicBezTo>
                  <a:cubicBezTo>
                    <a:pt x="33" y="31"/>
                    <a:pt x="33" y="31"/>
                    <a:pt x="33" y="31"/>
                  </a:cubicBezTo>
                  <a:close/>
                  <a:moveTo>
                    <a:pt x="43" y="67"/>
                  </a:moveTo>
                  <a:cubicBezTo>
                    <a:pt x="13" y="67"/>
                    <a:pt x="13" y="67"/>
                    <a:pt x="13" y="67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4" y="49"/>
                    <a:pt x="16" y="47"/>
                    <a:pt x="16" y="44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7"/>
                    <a:pt x="17" y="36"/>
                    <a:pt x="19" y="36"/>
                  </a:cubicBezTo>
                  <a:cubicBezTo>
                    <a:pt x="20" y="36"/>
                    <a:pt x="21" y="37"/>
                    <a:pt x="21" y="39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50"/>
                    <a:pt x="25" y="53"/>
                    <a:pt x="28" y="53"/>
                  </a:cubicBezTo>
                  <a:cubicBezTo>
                    <a:pt x="32" y="53"/>
                    <a:pt x="35" y="50"/>
                    <a:pt x="35" y="46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2"/>
                    <a:pt x="37" y="40"/>
                    <a:pt x="38" y="40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41" y="40"/>
                    <a:pt x="42" y="42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6"/>
                    <a:pt x="44" y="48"/>
                    <a:pt x="46" y="48"/>
                  </a:cubicBezTo>
                  <a:lnTo>
                    <a:pt x="43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9" name="Freeform 94"/>
            <p:cNvSpPr>
              <a:spLocks/>
            </p:cNvSpPr>
            <p:nvPr/>
          </p:nvSpPr>
          <p:spPr bwMode="auto">
            <a:xfrm>
              <a:off x="2942" y="1409"/>
              <a:ext cx="148" cy="96"/>
            </a:xfrm>
            <a:custGeom>
              <a:avLst/>
              <a:gdLst>
                <a:gd name="T0" fmla="*/ 61 w 63"/>
                <a:gd name="T1" fmla="*/ 31 h 41"/>
                <a:gd name="T2" fmla="*/ 63 w 63"/>
                <a:gd name="T3" fmla="*/ 28 h 41"/>
                <a:gd name="T4" fmla="*/ 60 w 63"/>
                <a:gd name="T5" fmla="*/ 3 h 41"/>
                <a:gd name="T6" fmla="*/ 58 w 63"/>
                <a:gd name="T7" fmla="*/ 1 h 41"/>
                <a:gd name="T8" fmla="*/ 2 w 63"/>
                <a:gd name="T9" fmla="*/ 12 h 41"/>
                <a:gd name="T10" fmla="*/ 0 w 63"/>
                <a:gd name="T11" fmla="*/ 15 h 41"/>
                <a:gd name="T12" fmla="*/ 8 w 63"/>
                <a:gd name="T13" fmla="*/ 39 h 41"/>
                <a:gd name="T14" fmla="*/ 11 w 63"/>
                <a:gd name="T15" fmla="*/ 41 h 41"/>
                <a:gd name="T16" fmla="*/ 61 w 63"/>
                <a:gd name="T17" fmla="*/ 3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1" y="31"/>
                  </a:moveTo>
                  <a:cubicBezTo>
                    <a:pt x="62" y="31"/>
                    <a:pt x="63" y="30"/>
                    <a:pt x="63" y="28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0" y="1"/>
                    <a:pt x="59" y="0"/>
                    <a:pt x="58" y="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0" y="13"/>
                    <a:pt x="0" y="15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41"/>
                    <a:pt x="10" y="41"/>
                    <a:pt x="11" y="41"/>
                  </a:cubicBezTo>
                  <a:lnTo>
                    <a:pt x="6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70" name="Freeform 28"/>
          <p:cNvSpPr>
            <a:spLocks noEditPoints="1"/>
          </p:cNvSpPr>
          <p:nvPr/>
        </p:nvSpPr>
        <p:spPr bwMode="auto">
          <a:xfrm>
            <a:off x="527625" y="2544498"/>
            <a:ext cx="548700" cy="675324"/>
          </a:xfrm>
          <a:custGeom>
            <a:avLst/>
            <a:gdLst>
              <a:gd name="T0" fmla="*/ 343 w 622"/>
              <a:gd name="T1" fmla="*/ 0 h 763"/>
              <a:gd name="T2" fmla="*/ 65 w 622"/>
              <a:gd name="T3" fmla="*/ 253 h 763"/>
              <a:gd name="T4" fmla="*/ 5 w 622"/>
              <a:gd name="T5" fmla="*/ 368 h 763"/>
              <a:gd name="T6" fmla="*/ 13 w 622"/>
              <a:gd name="T7" fmla="*/ 400 h 763"/>
              <a:gd name="T8" fmla="*/ 64 w 622"/>
              <a:gd name="T9" fmla="*/ 438 h 763"/>
              <a:gd name="T10" fmla="*/ 64 w 622"/>
              <a:gd name="T11" fmla="*/ 559 h 763"/>
              <a:gd name="T12" fmla="*/ 85 w 622"/>
              <a:gd name="T13" fmla="*/ 581 h 763"/>
              <a:gd name="T14" fmla="*/ 207 w 622"/>
              <a:gd name="T15" fmla="*/ 581 h 763"/>
              <a:gd name="T16" fmla="*/ 207 w 622"/>
              <a:gd name="T17" fmla="*/ 745 h 763"/>
              <a:gd name="T18" fmla="*/ 227 w 622"/>
              <a:gd name="T19" fmla="*/ 759 h 763"/>
              <a:gd name="T20" fmla="*/ 469 w 622"/>
              <a:gd name="T21" fmla="*/ 662 h 763"/>
              <a:gd name="T22" fmla="*/ 489 w 622"/>
              <a:gd name="T23" fmla="*/ 632 h 763"/>
              <a:gd name="T24" fmla="*/ 489 w 622"/>
              <a:gd name="T25" fmla="*/ 516 h 763"/>
              <a:gd name="T26" fmla="*/ 622 w 622"/>
              <a:gd name="T27" fmla="*/ 279 h 763"/>
              <a:gd name="T28" fmla="*/ 343 w 622"/>
              <a:gd name="T29" fmla="*/ 0 h 763"/>
              <a:gd name="T30" fmla="*/ 502 w 622"/>
              <a:gd name="T31" fmla="*/ 323 h 763"/>
              <a:gd name="T32" fmla="*/ 468 w 622"/>
              <a:gd name="T33" fmla="*/ 357 h 763"/>
              <a:gd name="T34" fmla="*/ 405 w 622"/>
              <a:gd name="T35" fmla="*/ 332 h 763"/>
              <a:gd name="T36" fmla="*/ 439 w 622"/>
              <a:gd name="T37" fmla="*/ 421 h 763"/>
              <a:gd name="T38" fmla="*/ 438 w 622"/>
              <a:gd name="T39" fmla="*/ 428 h 763"/>
              <a:gd name="T40" fmla="*/ 433 w 622"/>
              <a:gd name="T41" fmla="*/ 433 h 763"/>
              <a:gd name="T42" fmla="*/ 427 w 622"/>
              <a:gd name="T43" fmla="*/ 434 h 763"/>
              <a:gd name="T44" fmla="*/ 411 w 622"/>
              <a:gd name="T45" fmla="*/ 427 h 763"/>
              <a:gd name="T46" fmla="*/ 373 w 622"/>
              <a:gd name="T47" fmla="*/ 354 h 763"/>
              <a:gd name="T48" fmla="*/ 336 w 622"/>
              <a:gd name="T49" fmla="*/ 308 h 763"/>
              <a:gd name="T50" fmla="*/ 336 w 622"/>
              <a:gd name="T51" fmla="*/ 307 h 763"/>
              <a:gd name="T52" fmla="*/ 335 w 622"/>
              <a:gd name="T53" fmla="*/ 308 h 763"/>
              <a:gd name="T54" fmla="*/ 253 w 622"/>
              <a:gd name="T55" fmla="*/ 308 h 763"/>
              <a:gd name="T56" fmla="*/ 248 w 622"/>
              <a:gd name="T57" fmla="*/ 283 h 763"/>
              <a:gd name="T58" fmla="*/ 248 w 622"/>
              <a:gd name="T59" fmla="*/ 283 h 763"/>
              <a:gd name="T60" fmla="*/ 183 w 622"/>
              <a:gd name="T61" fmla="*/ 167 h 763"/>
              <a:gd name="T62" fmla="*/ 346 w 622"/>
              <a:gd name="T63" fmla="*/ 84 h 763"/>
              <a:gd name="T64" fmla="*/ 525 w 622"/>
              <a:gd name="T65" fmla="*/ 244 h 763"/>
              <a:gd name="T66" fmla="*/ 502 w 622"/>
              <a:gd name="T67" fmla="*/ 323 h 7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22" h="763">
                <a:moveTo>
                  <a:pt x="343" y="0"/>
                </a:moveTo>
                <a:cubicBezTo>
                  <a:pt x="197" y="0"/>
                  <a:pt x="78" y="111"/>
                  <a:pt x="65" y="253"/>
                </a:cubicBezTo>
                <a:cubicBezTo>
                  <a:pt x="5" y="368"/>
                  <a:pt x="5" y="368"/>
                  <a:pt x="5" y="368"/>
                </a:cubicBezTo>
                <a:cubicBezTo>
                  <a:pt x="0" y="379"/>
                  <a:pt x="3" y="393"/>
                  <a:pt x="13" y="400"/>
                </a:cubicBezTo>
                <a:cubicBezTo>
                  <a:pt x="64" y="438"/>
                  <a:pt x="64" y="438"/>
                  <a:pt x="64" y="438"/>
                </a:cubicBezTo>
                <a:cubicBezTo>
                  <a:pt x="64" y="559"/>
                  <a:pt x="64" y="559"/>
                  <a:pt x="64" y="559"/>
                </a:cubicBezTo>
                <a:cubicBezTo>
                  <a:pt x="64" y="571"/>
                  <a:pt x="74" y="581"/>
                  <a:pt x="85" y="581"/>
                </a:cubicBezTo>
                <a:cubicBezTo>
                  <a:pt x="207" y="581"/>
                  <a:pt x="207" y="581"/>
                  <a:pt x="207" y="581"/>
                </a:cubicBezTo>
                <a:cubicBezTo>
                  <a:pt x="207" y="745"/>
                  <a:pt x="207" y="745"/>
                  <a:pt x="207" y="745"/>
                </a:cubicBezTo>
                <a:cubicBezTo>
                  <a:pt x="207" y="756"/>
                  <a:pt x="218" y="763"/>
                  <a:pt x="227" y="759"/>
                </a:cubicBezTo>
                <a:cubicBezTo>
                  <a:pt x="469" y="662"/>
                  <a:pt x="469" y="662"/>
                  <a:pt x="469" y="662"/>
                </a:cubicBezTo>
                <a:cubicBezTo>
                  <a:pt x="481" y="657"/>
                  <a:pt x="489" y="645"/>
                  <a:pt x="489" y="632"/>
                </a:cubicBezTo>
                <a:cubicBezTo>
                  <a:pt x="489" y="516"/>
                  <a:pt x="489" y="516"/>
                  <a:pt x="489" y="516"/>
                </a:cubicBezTo>
                <a:cubicBezTo>
                  <a:pt x="569" y="467"/>
                  <a:pt x="622" y="379"/>
                  <a:pt x="622" y="279"/>
                </a:cubicBezTo>
                <a:cubicBezTo>
                  <a:pt x="622" y="125"/>
                  <a:pt x="497" y="0"/>
                  <a:pt x="343" y="0"/>
                </a:cubicBezTo>
                <a:close/>
                <a:moveTo>
                  <a:pt x="502" y="323"/>
                </a:moveTo>
                <a:cubicBezTo>
                  <a:pt x="493" y="335"/>
                  <a:pt x="482" y="347"/>
                  <a:pt x="468" y="357"/>
                </a:cubicBezTo>
                <a:cubicBezTo>
                  <a:pt x="430" y="376"/>
                  <a:pt x="405" y="332"/>
                  <a:pt x="405" y="332"/>
                </a:cubicBezTo>
                <a:cubicBezTo>
                  <a:pt x="439" y="421"/>
                  <a:pt x="439" y="421"/>
                  <a:pt x="439" y="421"/>
                </a:cubicBezTo>
                <a:cubicBezTo>
                  <a:pt x="440" y="423"/>
                  <a:pt x="440" y="426"/>
                  <a:pt x="438" y="428"/>
                </a:cubicBezTo>
                <a:cubicBezTo>
                  <a:pt x="437" y="431"/>
                  <a:pt x="435" y="432"/>
                  <a:pt x="433" y="433"/>
                </a:cubicBezTo>
                <a:cubicBezTo>
                  <a:pt x="427" y="434"/>
                  <a:pt x="427" y="434"/>
                  <a:pt x="427" y="434"/>
                </a:cubicBezTo>
                <a:cubicBezTo>
                  <a:pt x="421" y="436"/>
                  <a:pt x="414" y="433"/>
                  <a:pt x="411" y="427"/>
                </a:cubicBezTo>
                <a:cubicBezTo>
                  <a:pt x="373" y="354"/>
                  <a:pt x="373" y="354"/>
                  <a:pt x="373" y="354"/>
                </a:cubicBezTo>
                <a:cubicBezTo>
                  <a:pt x="351" y="347"/>
                  <a:pt x="340" y="330"/>
                  <a:pt x="336" y="308"/>
                </a:cubicBezTo>
                <a:cubicBezTo>
                  <a:pt x="336" y="307"/>
                  <a:pt x="336" y="307"/>
                  <a:pt x="336" y="307"/>
                </a:cubicBezTo>
                <a:cubicBezTo>
                  <a:pt x="336" y="307"/>
                  <a:pt x="336" y="307"/>
                  <a:pt x="335" y="308"/>
                </a:cubicBezTo>
                <a:cubicBezTo>
                  <a:pt x="324" y="337"/>
                  <a:pt x="271" y="336"/>
                  <a:pt x="253" y="308"/>
                </a:cubicBezTo>
                <a:cubicBezTo>
                  <a:pt x="249" y="301"/>
                  <a:pt x="247" y="293"/>
                  <a:pt x="248" y="283"/>
                </a:cubicBezTo>
                <a:cubicBezTo>
                  <a:pt x="248" y="283"/>
                  <a:pt x="248" y="283"/>
                  <a:pt x="248" y="283"/>
                </a:cubicBezTo>
                <a:cubicBezTo>
                  <a:pt x="190" y="321"/>
                  <a:pt x="135" y="239"/>
                  <a:pt x="183" y="167"/>
                </a:cubicBezTo>
                <a:cubicBezTo>
                  <a:pt x="216" y="118"/>
                  <a:pt x="278" y="84"/>
                  <a:pt x="346" y="84"/>
                </a:cubicBezTo>
                <a:cubicBezTo>
                  <a:pt x="445" y="84"/>
                  <a:pt x="525" y="156"/>
                  <a:pt x="525" y="244"/>
                </a:cubicBezTo>
                <a:cubicBezTo>
                  <a:pt x="525" y="275"/>
                  <a:pt x="518" y="301"/>
                  <a:pt x="502" y="3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74" name="Group 5"/>
          <p:cNvGrpSpPr>
            <a:grpSpLocks noChangeAspect="1"/>
          </p:cNvGrpSpPr>
          <p:nvPr/>
        </p:nvGrpSpPr>
        <p:grpSpPr bwMode="auto">
          <a:xfrm>
            <a:off x="4733229" y="1563638"/>
            <a:ext cx="846883" cy="438784"/>
            <a:chOff x="179" y="872"/>
            <a:chExt cx="828" cy="429"/>
          </a:xfrm>
          <a:solidFill>
            <a:schemeClr val="bg1"/>
          </a:solidFill>
        </p:grpSpPr>
        <p:sp>
          <p:nvSpPr>
            <p:cNvPr id="75" name="Freeform 6"/>
            <p:cNvSpPr>
              <a:spLocks/>
            </p:cNvSpPr>
            <p:nvPr/>
          </p:nvSpPr>
          <p:spPr bwMode="auto">
            <a:xfrm>
              <a:off x="179" y="872"/>
              <a:ext cx="828" cy="369"/>
            </a:xfrm>
            <a:custGeom>
              <a:avLst/>
              <a:gdLst>
                <a:gd name="T0" fmla="*/ 247 w 467"/>
                <a:gd name="T1" fmla="*/ 80 h 208"/>
                <a:gd name="T2" fmla="*/ 240 w 467"/>
                <a:gd name="T3" fmla="*/ 70 h 208"/>
                <a:gd name="T4" fmla="*/ 248 w 467"/>
                <a:gd name="T5" fmla="*/ 62 h 208"/>
                <a:gd name="T6" fmla="*/ 379 w 467"/>
                <a:gd name="T7" fmla="*/ 100 h 208"/>
                <a:gd name="T8" fmla="*/ 467 w 467"/>
                <a:gd name="T9" fmla="*/ 73 h 208"/>
                <a:gd name="T10" fmla="*/ 234 w 467"/>
                <a:gd name="T11" fmla="*/ 0 h 208"/>
                <a:gd name="T12" fmla="*/ 0 w 467"/>
                <a:gd name="T13" fmla="*/ 73 h 208"/>
                <a:gd name="T14" fmla="*/ 98 w 467"/>
                <a:gd name="T15" fmla="*/ 103 h 208"/>
                <a:gd name="T16" fmla="*/ 98 w 467"/>
                <a:gd name="T17" fmla="*/ 172 h 208"/>
                <a:gd name="T18" fmla="*/ 234 w 467"/>
                <a:gd name="T19" fmla="*/ 208 h 208"/>
                <a:gd name="T20" fmla="*/ 369 w 467"/>
                <a:gd name="T21" fmla="*/ 172 h 208"/>
                <a:gd name="T22" fmla="*/ 369 w 467"/>
                <a:gd name="T23" fmla="*/ 114 h 208"/>
                <a:gd name="T24" fmla="*/ 247 w 467"/>
                <a:gd name="T25" fmla="*/ 8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7" h="208">
                  <a:moveTo>
                    <a:pt x="247" y="80"/>
                  </a:moveTo>
                  <a:cubicBezTo>
                    <a:pt x="243" y="79"/>
                    <a:pt x="239" y="75"/>
                    <a:pt x="240" y="70"/>
                  </a:cubicBezTo>
                  <a:cubicBezTo>
                    <a:pt x="240" y="65"/>
                    <a:pt x="244" y="62"/>
                    <a:pt x="248" y="62"/>
                  </a:cubicBezTo>
                  <a:cubicBezTo>
                    <a:pt x="326" y="69"/>
                    <a:pt x="370" y="82"/>
                    <a:pt x="379" y="100"/>
                  </a:cubicBezTo>
                  <a:cubicBezTo>
                    <a:pt x="467" y="73"/>
                    <a:pt x="467" y="73"/>
                    <a:pt x="467" y="73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98" y="103"/>
                    <a:pt x="98" y="103"/>
                    <a:pt x="98" y="103"/>
                  </a:cubicBezTo>
                  <a:cubicBezTo>
                    <a:pt x="98" y="172"/>
                    <a:pt x="98" y="172"/>
                    <a:pt x="98" y="172"/>
                  </a:cubicBezTo>
                  <a:cubicBezTo>
                    <a:pt x="98" y="192"/>
                    <a:pt x="159" y="208"/>
                    <a:pt x="234" y="208"/>
                  </a:cubicBezTo>
                  <a:cubicBezTo>
                    <a:pt x="309" y="208"/>
                    <a:pt x="369" y="192"/>
                    <a:pt x="369" y="172"/>
                  </a:cubicBezTo>
                  <a:cubicBezTo>
                    <a:pt x="369" y="114"/>
                    <a:pt x="369" y="114"/>
                    <a:pt x="369" y="114"/>
                  </a:cubicBezTo>
                  <a:cubicBezTo>
                    <a:pt x="369" y="105"/>
                    <a:pt x="338" y="87"/>
                    <a:pt x="247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7"/>
            <p:cNvSpPr>
              <a:spLocks/>
            </p:cNvSpPr>
            <p:nvPr/>
          </p:nvSpPr>
          <p:spPr bwMode="auto">
            <a:xfrm>
              <a:off x="247" y="1014"/>
              <a:ext cx="76" cy="287"/>
            </a:xfrm>
            <a:custGeom>
              <a:avLst/>
              <a:gdLst>
                <a:gd name="T0" fmla="*/ 34 w 43"/>
                <a:gd name="T1" fmla="*/ 108 h 162"/>
                <a:gd name="T2" fmla="*/ 43 w 43"/>
                <a:gd name="T3" fmla="*/ 90 h 162"/>
                <a:gd name="T4" fmla="*/ 28 w 43"/>
                <a:gd name="T5" fmla="*/ 69 h 162"/>
                <a:gd name="T6" fmla="*/ 28 w 43"/>
                <a:gd name="T7" fmla="*/ 0 h 162"/>
                <a:gd name="T8" fmla="*/ 16 w 43"/>
                <a:gd name="T9" fmla="*/ 0 h 162"/>
                <a:gd name="T10" fmla="*/ 16 w 43"/>
                <a:gd name="T11" fmla="*/ 69 h 162"/>
                <a:gd name="T12" fmla="*/ 0 w 43"/>
                <a:gd name="T13" fmla="*/ 90 h 162"/>
                <a:gd name="T14" fmla="*/ 10 w 43"/>
                <a:gd name="T15" fmla="*/ 108 h 162"/>
                <a:gd name="T16" fmla="*/ 4 w 43"/>
                <a:gd name="T17" fmla="*/ 121 h 162"/>
                <a:gd name="T18" fmla="*/ 4 w 43"/>
                <a:gd name="T19" fmla="*/ 162 h 162"/>
                <a:gd name="T20" fmla="*/ 40 w 43"/>
                <a:gd name="T21" fmla="*/ 147 h 162"/>
                <a:gd name="T22" fmla="*/ 40 w 43"/>
                <a:gd name="T23" fmla="*/ 121 h 162"/>
                <a:gd name="T24" fmla="*/ 34 w 43"/>
                <a:gd name="T25" fmla="*/ 10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162">
                  <a:moveTo>
                    <a:pt x="34" y="108"/>
                  </a:moveTo>
                  <a:cubicBezTo>
                    <a:pt x="39" y="104"/>
                    <a:pt x="43" y="97"/>
                    <a:pt x="43" y="90"/>
                  </a:cubicBezTo>
                  <a:cubicBezTo>
                    <a:pt x="43" y="80"/>
                    <a:pt x="37" y="72"/>
                    <a:pt x="28" y="69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7" y="72"/>
                    <a:pt x="0" y="80"/>
                    <a:pt x="0" y="90"/>
                  </a:cubicBezTo>
                  <a:cubicBezTo>
                    <a:pt x="0" y="97"/>
                    <a:pt x="4" y="104"/>
                    <a:pt x="10" y="108"/>
                  </a:cubicBezTo>
                  <a:cubicBezTo>
                    <a:pt x="6" y="111"/>
                    <a:pt x="4" y="116"/>
                    <a:pt x="4" y="121"/>
                  </a:cubicBezTo>
                  <a:cubicBezTo>
                    <a:pt x="4" y="162"/>
                    <a:pt x="4" y="162"/>
                    <a:pt x="4" y="162"/>
                  </a:cubicBezTo>
                  <a:cubicBezTo>
                    <a:pt x="40" y="147"/>
                    <a:pt x="40" y="147"/>
                    <a:pt x="40" y="147"/>
                  </a:cubicBezTo>
                  <a:cubicBezTo>
                    <a:pt x="40" y="121"/>
                    <a:pt x="40" y="121"/>
                    <a:pt x="40" y="121"/>
                  </a:cubicBezTo>
                  <a:cubicBezTo>
                    <a:pt x="40" y="116"/>
                    <a:pt x="37" y="111"/>
                    <a:pt x="34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7" name="Freeform 193"/>
          <p:cNvSpPr>
            <a:spLocks noEditPoints="1"/>
          </p:cNvSpPr>
          <p:nvPr/>
        </p:nvSpPr>
        <p:spPr bwMode="auto">
          <a:xfrm>
            <a:off x="4867562" y="2571750"/>
            <a:ext cx="640542" cy="579538"/>
          </a:xfrm>
          <a:custGeom>
            <a:avLst/>
            <a:gdLst>
              <a:gd name="T0" fmla="*/ 231 w 400"/>
              <a:gd name="T1" fmla="*/ 362 h 362"/>
              <a:gd name="T2" fmla="*/ 231 w 400"/>
              <a:gd name="T3" fmla="*/ 250 h 362"/>
              <a:gd name="T4" fmla="*/ 383 w 400"/>
              <a:gd name="T5" fmla="*/ 207 h 362"/>
              <a:gd name="T6" fmla="*/ 400 w 400"/>
              <a:gd name="T7" fmla="*/ 220 h 362"/>
              <a:gd name="T8" fmla="*/ 400 w 400"/>
              <a:gd name="T9" fmla="*/ 362 h 362"/>
              <a:gd name="T10" fmla="*/ 231 w 400"/>
              <a:gd name="T11" fmla="*/ 362 h 362"/>
              <a:gd name="T12" fmla="*/ 219 w 400"/>
              <a:gd name="T13" fmla="*/ 362 h 362"/>
              <a:gd name="T14" fmla="*/ 219 w 400"/>
              <a:gd name="T15" fmla="*/ 249 h 362"/>
              <a:gd name="T16" fmla="*/ 181 w 400"/>
              <a:gd name="T17" fmla="*/ 249 h 362"/>
              <a:gd name="T18" fmla="*/ 181 w 400"/>
              <a:gd name="T19" fmla="*/ 362 h 362"/>
              <a:gd name="T20" fmla="*/ 219 w 400"/>
              <a:gd name="T21" fmla="*/ 362 h 362"/>
              <a:gd name="T22" fmla="*/ 169 w 400"/>
              <a:gd name="T23" fmla="*/ 362 h 362"/>
              <a:gd name="T24" fmla="*/ 169 w 400"/>
              <a:gd name="T25" fmla="*/ 250 h 362"/>
              <a:gd name="T26" fmla="*/ 17 w 400"/>
              <a:gd name="T27" fmla="*/ 207 h 362"/>
              <a:gd name="T28" fmla="*/ 0 w 400"/>
              <a:gd name="T29" fmla="*/ 220 h 362"/>
              <a:gd name="T30" fmla="*/ 0 w 400"/>
              <a:gd name="T31" fmla="*/ 362 h 362"/>
              <a:gd name="T32" fmla="*/ 169 w 400"/>
              <a:gd name="T33" fmla="*/ 362 h 362"/>
              <a:gd name="T34" fmla="*/ 167 w 400"/>
              <a:gd name="T35" fmla="*/ 159 h 362"/>
              <a:gd name="T36" fmla="*/ 177 w 400"/>
              <a:gd name="T37" fmla="*/ 173 h 362"/>
              <a:gd name="T38" fmla="*/ 162 w 400"/>
              <a:gd name="T39" fmla="*/ 187 h 362"/>
              <a:gd name="T40" fmla="*/ 119 w 400"/>
              <a:gd name="T41" fmla="*/ 187 h 362"/>
              <a:gd name="T42" fmla="*/ 83 w 400"/>
              <a:gd name="T43" fmla="*/ 202 h 362"/>
              <a:gd name="T44" fmla="*/ 176 w 400"/>
              <a:gd name="T45" fmla="*/ 231 h 362"/>
              <a:gd name="T46" fmla="*/ 224 w 400"/>
              <a:gd name="T47" fmla="*/ 231 h 362"/>
              <a:gd name="T48" fmla="*/ 317 w 400"/>
              <a:gd name="T49" fmla="*/ 202 h 362"/>
              <a:gd name="T50" fmla="*/ 281 w 400"/>
              <a:gd name="T51" fmla="*/ 187 h 362"/>
              <a:gd name="T52" fmla="*/ 238 w 400"/>
              <a:gd name="T53" fmla="*/ 187 h 362"/>
              <a:gd name="T54" fmla="*/ 223 w 400"/>
              <a:gd name="T55" fmla="*/ 173 h 362"/>
              <a:gd name="T56" fmla="*/ 233 w 400"/>
              <a:gd name="T57" fmla="*/ 158 h 362"/>
              <a:gd name="T58" fmla="*/ 283 w 400"/>
              <a:gd name="T59" fmla="*/ 83 h 362"/>
              <a:gd name="T60" fmla="*/ 200 w 400"/>
              <a:gd name="T61" fmla="*/ 0 h 362"/>
              <a:gd name="T62" fmla="*/ 117 w 400"/>
              <a:gd name="T63" fmla="*/ 83 h 362"/>
              <a:gd name="T64" fmla="*/ 167 w 400"/>
              <a:gd name="T65" fmla="*/ 159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00" h="362">
                <a:moveTo>
                  <a:pt x="231" y="362"/>
                </a:moveTo>
                <a:cubicBezTo>
                  <a:pt x="231" y="250"/>
                  <a:pt x="231" y="250"/>
                  <a:pt x="231" y="250"/>
                </a:cubicBezTo>
                <a:cubicBezTo>
                  <a:pt x="383" y="207"/>
                  <a:pt x="383" y="207"/>
                  <a:pt x="383" y="207"/>
                </a:cubicBezTo>
                <a:cubicBezTo>
                  <a:pt x="393" y="205"/>
                  <a:pt x="400" y="210"/>
                  <a:pt x="400" y="220"/>
                </a:cubicBezTo>
                <a:cubicBezTo>
                  <a:pt x="400" y="362"/>
                  <a:pt x="400" y="362"/>
                  <a:pt x="400" y="362"/>
                </a:cubicBezTo>
                <a:lnTo>
                  <a:pt x="231" y="362"/>
                </a:lnTo>
                <a:close/>
                <a:moveTo>
                  <a:pt x="219" y="362"/>
                </a:moveTo>
                <a:cubicBezTo>
                  <a:pt x="219" y="249"/>
                  <a:pt x="219" y="249"/>
                  <a:pt x="219" y="249"/>
                </a:cubicBezTo>
                <a:cubicBezTo>
                  <a:pt x="181" y="249"/>
                  <a:pt x="181" y="249"/>
                  <a:pt x="181" y="249"/>
                </a:cubicBezTo>
                <a:cubicBezTo>
                  <a:pt x="181" y="362"/>
                  <a:pt x="181" y="362"/>
                  <a:pt x="181" y="362"/>
                </a:cubicBezTo>
                <a:lnTo>
                  <a:pt x="219" y="362"/>
                </a:lnTo>
                <a:close/>
                <a:moveTo>
                  <a:pt x="169" y="362"/>
                </a:moveTo>
                <a:cubicBezTo>
                  <a:pt x="169" y="250"/>
                  <a:pt x="169" y="250"/>
                  <a:pt x="169" y="250"/>
                </a:cubicBezTo>
                <a:cubicBezTo>
                  <a:pt x="17" y="207"/>
                  <a:pt x="17" y="207"/>
                  <a:pt x="17" y="207"/>
                </a:cubicBezTo>
                <a:cubicBezTo>
                  <a:pt x="7" y="205"/>
                  <a:pt x="0" y="210"/>
                  <a:pt x="0" y="220"/>
                </a:cubicBezTo>
                <a:cubicBezTo>
                  <a:pt x="0" y="362"/>
                  <a:pt x="0" y="362"/>
                  <a:pt x="0" y="362"/>
                </a:cubicBezTo>
                <a:lnTo>
                  <a:pt x="169" y="362"/>
                </a:lnTo>
                <a:close/>
                <a:moveTo>
                  <a:pt x="167" y="159"/>
                </a:moveTo>
                <a:cubicBezTo>
                  <a:pt x="167" y="159"/>
                  <a:pt x="177" y="162"/>
                  <a:pt x="177" y="173"/>
                </a:cubicBezTo>
                <a:cubicBezTo>
                  <a:pt x="177" y="181"/>
                  <a:pt x="170" y="187"/>
                  <a:pt x="162" y="187"/>
                </a:cubicBezTo>
                <a:cubicBezTo>
                  <a:pt x="119" y="187"/>
                  <a:pt x="119" y="187"/>
                  <a:pt x="119" y="187"/>
                </a:cubicBezTo>
                <a:cubicBezTo>
                  <a:pt x="105" y="187"/>
                  <a:pt x="93" y="194"/>
                  <a:pt x="83" y="202"/>
                </a:cubicBezTo>
                <a:cubicBezTo>
                  <a:pt x="176" y="231"/>
                  <a:pt x="176" y="231"/>
                  <a:pt x="176" y="231"/>
                </a:cubicBezTo>
                <a:cubicBezTo>
                  <a:pt x="224" y="231"/>
                  <a:pt x="224" y="231"/>
                  <a:pt x="224" y="231"/>
                </a:cubicBezTo>
                <a:cubicBezTo>
                  <a:pt x="317" y="202"/>
                  <a:pt x="317" y="202"/>
                  <a:pt x="317" y="202"/>
                </a:cubicBezTo>
                <a:cubicBezTo>
                  <a:pt x="307" y="194"/>
                  <a:pt x="295" y="187"/>
                  <a:pt x="281" y="187"/>
                </a:cubicBezTo>
                <a:cubicBezTo>
                  <a:pt x="238" y="187"/>
                  <a:pt x="238" y="187"/>
                  <a:pt x="238" y="187"/>
                </a:cubicBezTo>
                <a:cubicBezTo>
                  <a:pt x="230" y="187"/>
                  <a:pt x="223" y="181"/>
                  <a:pt x="223" y="173"/>
                </a:cubicBezTo>
                <a:cubicBezTo>
                  <a:pt x="223" y="162"/>
                  <a:pt x="233" y="158"/>
                  <a:pt x="233" y="158"/>
                </a:cubicBezTo>
                <a:cubicBezTo>
                  <a:pt x="263" y="146"/>
                  <a:pt x="283" y="117"/>
                  <a:pt x="283" y="83"/>
                </a:cubicBezTo>
                <a:cubicBezTo>
                  <a:pt x="283" y="37"/>
                  <a:pt x="246" y="0"/>
                  <a:pt x="200" y="0"/>
                </a:cubicBezTo>
                <a:cubicBezTo>
                  <a:pt x="154" y="0"/>
                  <a:pt x="117" y="37"/>
                  <a:pt x="117" y="83"/>
                </a:cubicBezTo>
                <a:cubicBezTo>
                  <a:pt x="117" y="117"/>
                  <a:pt x="137" y="146"/>
                  <a:pt x="167" y="15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2" name="Group 30"/>
          <p:cNvGrpSpPr>
            <a:grpSpLocks noChangeAspect="1"/>
          </p:cNvGrpSpPr>
          <p:nvPr/>
        </p:nvGrpSpPr>
        <p:grpSpPr bwMode="auto">
          <a:xfrm>
            <a:off x="4942419" y="3623681"/>
            <a:ext cx="421669" cy="695115"/>
            <a:chOff x="1105" y="2083"/>
            <a:chExt cx="330" cy="544"/>
          </a:xfrm>
          <a:solidFill>
            <a:schemeClr val="bg1"/>
          </a:solidFill>
        </p:grpSpPr>
        <p:sp>
          <p:nvSpPr>
            <p:cNvPr id="83" name="Oval 31"/>
            <p:cNvSpPr>
              <a:spLocks noChangeArrowheads="1"/>
            </p:cNvSpPr>
            <p:nvPr/>
          </p:nvSpPr>
          <p:spPr bwMode="auto">
            <a:xfrm>
              <a:off x="1218" y="2083"/>
              <a:ext cx="128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2"/>
            <p:cNvSpPr>
              <a:spLocks noEditPoints="1"/>
            </p:cNvSpPr>
            <p:nvPr/>
          </p:nvSpPr>
          <p:spPr bwMode="auto">
            <a:xfrm>
              <a:off x="1105" y="2232"/>
              <a:ext cx="330" cy="395"/>
            </a:xfrm>
            <a:custGeom>
              <a:avLst/>
              <a:gdLst>
                <a:gd name="T0" fmla="*/ 252 w 258"/>
                <a:gd name="T1" fmla="*/ 118 h 310"/>
                <a:gd name="T2" fmla="*/ 182 w 258"/>
                <a:gd name="T3" fmla="*/ 17 h 310"/>
                <a:gd name="T4" fmla="*/ 135 w 258"/>
                <a:gd name="T5" fmla="*/ 0 h 310"/>
                <a:gd name="T6" fmla="*/ 91 w 258"/>
                <a:gd name="T7" fmla="*/ 13 h 310"/>
                <a:gd name="T8" fmla="*/ 33 w 258"/>
                <a:gd name="T9" fmla="*/ 73 h 310"/>
                <a:gd name="T10" fmla="*/ 33 w 258"/>
                <a:gd name="T11" fmla="*/ 123 h 310"/>
                <a:gd name="T12" fmla="*/ 0 w 258"/>
                <a:gd name="T13" fmla="*/ 123 h 310"/>
                <a:gd name="T14" fmla="*/ 0 w 258"/>
                <a:gd name="T15" fmla="*/ 208 h 310"/>
                <a:gd name="T16" fmla="*/ 79 w 258"/>
                <a:gd name="T17" fmla="*/ 208 h 310"/>
                <a:gd name="T18" fmla="*/ 61 w 258"/>
                <a:gd name="T19" fmla="*/ 279 h 310"/>
                <a:gd name="T20" fmla="*/ 79 w 258"/>
                <a:gd name="T21" fmla="*/ 309 h 310"/>
                <a:gd name="T22" fmla="*/ 85 w 258"/>
                <a:gd name="T23" fmla="*/ 310 h 310"/>
                <a:gd name="T24" fmla="*/ 110 w 258"/>
                <a:gd name="T25" fmla="*/ 291 h 310"/>
                <a:gd name="T26" fmla="*/ 138 w 258"/>
                <a:gd name="T27" fmla="*/ 183 h 310"/>
                <a:gd name="T28" fmla="*/ 166 w 258"/>
                <a:gd name="T29" fmla="*/ 291 h 310"/>
                <a:gd name="T30" fmla="*/ 190 w 258"/>
                <a:gd name="T31" fmla="*/ 310 h 310"/>
                <a:gd name="T32" fmla="*/ 197 w 258"/>
                <a:gd name="T33" fmla="*/ 309 h 310"/>
                <a:gd name="T34" fmla="*/ 215 w 258"/>
                <a:gd name="T35" fmla="*/ 279 h 310"/>
                <a:gd name="T36" fmla="*/ 184 w 258"/>
                <a:gd name="T37" fmla="*/ 161 h 310"/>
                <a:gd name="T38" fmla="*/ 184 w 258"/>
                <a:gd name="T39" fmla="*/ 91 h 310"/>
                <a:gd name="T40" fmla="*/ 219 w 258"/>
                <a:gd name="T41" fmla="*/ 141 h 310"/>
                <a:gd name="T42" fmla="*/ 235 w 258"/>
                <a:gd name="T43" fmla="*/ 150 h 310"/>
                <a:gd name="T44" fmla="*/ 247 w 258"/>
                <a:gd name="T45" fmla="*/ 146 h 310"/>
                <a:gd name="T46" fmla="*/ 252 w 258"/>
                <a:gd name="T47" fmla="*/ 118 h 310"/>
                <a:gd name="T48" fmla="*/ 73 w 258"/>
                <a:gd name="T49" fmla="*/ 89 h 310"/>
                <a:gd name="T50" fmla="*/ 88 w 258"/>
                <a:gd name="T51" fmla="*/ 74 h 310"/>
                <a:gd name="T52" fmla="*/ 88 w 258"/>
                <a:gd name="T53" fmla="*/ 123 h 310"/>
                <a:gd name="T54" fmla="*/ 73 w 258"/>
                <a:gd name="T55" fmla="*/ 123 h 310"/>
                <a:gd name="T56" fmla="*/ 73 w 258"/>
                <a:gd name="T57" fmla="*/ 8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8" h="310">
                  <a:moveTo>
                    <a:pt x="252" y="118"/>
                  </a:moveTo>
                  <a:cubicBezTo>
                    <a:pt x="252" y="118"/>
                    <a:pt x="190" y="29"/>
                    <a:pt x="182" y="17"/>
                  </a:cubicBezTo>
                  <a:cubicBezTo>
                    <a:pt x="173" y="5"/>
                    <a:pt x="156" y="0"/>
                    <a:pt x="135" y="0"/>
                  </a:cubicBezTo>
                  <a:cubicBezTo>
                    <a:pt x="111" y="0"/>
                    <a:pt x="97" y="6"/>
                    <a:pt x="91" y="13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3" y="123"/>
                    <a:pt x="33" y="123"/>
                    <a:pt x="33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79" y="208"/>
                    <a:pt x="79" y="208"/>
                    <a:pt x="79" y="208"/>
                  </a:cubicBezTo>
                  <a:cubicBezTo>
                    <a:pt x="61" y="279"/>
                    <a:pt x="61" y="279"/>
                    <a:pt x="61" y="279"/>
                  </a:cubicBezTo>
                  <a:cubicBezTo>
                    <a:pt x="58" y="292"/>
                    <a:pt x="66" y="306"/>
                    <a:pt x="79" y="309"/>
                  </a:cubicBezTo>
                  <a:cubicBezTo>
                    <a:pt x="81" y="310"/>
                    <a:pt x="83" y="310"/>
                    <a:pt x="85" y="310"/>
                  </a:cubicBezTo>
                  <a:cubicBezTo>
                    <a:pt x="96" y="310"/>
                    <a:pt x="107" y="303"/>
                    <a:pt x="110" y="291"/>
                  </a:cubicBezTo>
                  <a:cubicBezTo>
                    <a:pt x="138" y="183"/>
                    <a:pt x="138" y="183"/>
                    <a:pt x="138" y="183"/>
                  </a:cubicBezTo>
                  <a:cubicBezTo>
                    <a:pt x="166" y="291"/>
                    <a:pt x="166" y="291"/>
                    <a:pt x="166" y="291"/>
                  </a:cubicBezTo>
                  <a:cubicBezTo>
                    <a:pt x="169" y="303"/>
                    <a:pt x="179" y="310"/>
                    <a:pt x="190" y="310"/>
                  </a:cubicBezTo>
                  <a:cubicBezTo>
                    <a:pt x="193" y="310"/>
                    <a:pt x="195" y="310"/>
                    <a:pt x="197" y="309"/>
                  </a:cubicBezTo>
                  <a:cubicBezTo>
                    <a:pt x="210" y="306"/>
                    <a:pt x="218" y="292"/>
                    <a:pt x="215" y="279"/>
                  </a:cubicBezTo>
                  <a:cubicBezTo>
                    <a:pt x="184" y="161"/>
                    <a:pt x="184" y="161"/>
                    <a:pt x="184" y="161"/>
                  </a:cubicBezTo>
                  <a:cubicBezTo>
                    <a:pt x="184" y="91"/>
                    <a:pt x="184" y="91"/>
                    <a:pt x="184" y="91"/>
                  </a:cubicBezTo>
                  <a:cubicBezTo>
                    <a:pt x="219" y="141"/>
                    <a:pt x="219" y="141"/>
                    <a:pt x="219" y="141"/>
                  </a:cubicBezTo>
                  <a:cubicBezTo>
                    <a:pt x="223" y="147"/>
                    <a:pt x="229" y="150"/>
                    <a:pt x="235" y="150"/>
                  </a:cubicBezTo>
                  <a:cubicBezTo>
                    <a:pt x="239" y="150"/>
                    <a:pt x="243" y="149"/>
                    <a:pt x="247" y="146"/>
                  </a:cubicBezTo>
                  <a:cubicBezTo>
                    <a:pt x="256" y="140"/>
                    <a:pt x="258" y="127"/>
                    <a:pt x="252" y="118"/>
                  </a:cubicBezTo>
                  <a:close/>
                  <a:moveTo>
                    <a:pt x="73" y="89"/>
                  </a:moveTo>
                  <a:cubicBezTo>
                    <a:pt x="88" y="74"/>
                    <a:pt x="88" y="74"/>
                    <a:pt x="88" y="74"/>
                  </a:cubicBezTo>
                  <a:cubicBezTo>
                    <a:pt x="88" y="123"/>
                    <a:pt x="88" y="123"/>
                    <a:pt x="88" y="123"/>
                  </a:cubicBezTo>
                  <a:cubicBezTo>
                    <a:pt x="73" y="123"/>
                    <a:pt x="73" y="123"/>
                    <a:pt x="73" y="123"/>
                  </a:cubicBezTo>
                  <a:lnTo>
                    <a:pt x="73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5" name="Freeform 72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539552" y="3651870"/>
            <a:ext cx="529500" cy="613823"/>
          </a:xfrm>
          <a:custGeom>
            <a:avLst/>
            <a:gdLst>
              <a:gd name="T0" fmla="*/ 280 w 1760"/>
              <a:gd name="T1" fmla="*/ 0 h 2040"/>
              <a:gd name="T2" fmla="*/ 320 w 1760"/>
              <a:gd name="T3" fmla="*/ 120 h 2040"/>
              <a:gd name="T4" fmla="*/ 480 w 1760"/>
              <a:gd name="T5" fmla="*/ 40 h 2040"/>
              <a:gd name="T6" fmla="*/ 560 w 1760"/>
              <a:gd name="T7" fmla="*/ 40 h 2040"/>
              <a:gd name="T8" fmla="*/ 720 w 1760"/>
              <a:gd name="T9" fmla="*/ 120 h 2040"/>
              <a:gd name="T10" fmla="*/ 760 w 1760"/>
              <a:gd name="T11" fmla="*/ 0 h 2040"/>
              <a:gd name="T12" fmla="*/ 800 w 1760"/>
              <a:gd name="T13" fmla="*/ 120 h 2040"/>
              <a:gd name="T14" fmla="*/ 960 w 1760"/>
              <a:gd name="T15" fmla="*/ 40 h 2040"/>
              <a:gd name="T16" fmla="*/ 1040 w 1760"/>
              <a:gd name="T17" fmla="*/ 40 h 2040"/>
              <a:gd name="T18" fmla="*/ 1200 w 1760"/>
              <a:gd name="T19" fmla="*/ 120 h 2040"/>
              <a:gd name="T20" fmla="*/ 1240 w 1760"/>
              <a:gd name="T21" fmla="*/ 0 h 2040"/>
              <a:gd name="T22" fmla="*/ 1280 w 1760"/>
              <a:gd name="T23" fmla="*/ 120 h 2040"/>
              <a:gd name="T24" fmla="*/ 1440 w 1760"/>
              <a:gd name="T25" fmla="*/ 40 h 2040"/>
              <a:gd name="T26" fmla="*/ 1520 w 1760"/>
              <a:gd name="T27" fmla="*/ 40 h 2040"/>
              <a:gd name="T28" fmla="*/ 1640 w 1760"/>
              <a:gd name="T29" fmla="*/ 120 h 2040"/>
              <a:gd name="T30" fmla="*/ 1760 w 1760"/>
              <a:gd name="T31" fmla="*/ 680 h 2040"/>
              <a:gd name="T32" fmla="*/ 0 w 1760"/>
              <a:gd name="T33" fmla="*/ 240 h 2040"/>
              <a:gd name="T34" fmla="*/ 240 w 1760"/>
              <a:gd name="T35" fmla="*/ 120 h 2040"/>
              <a:gd name="T36" fmla="*/ 1760 w 1760"/>
              <a:gd name="T37" fmla="*/ 760 h 2040"/>
              <a:gd name="T38" fmla="*/ 0 w 1760"/>
              <a:gd name="T39" fmla="*/ 2040 h 2040"/>
              <a:gd name="T40" fmla="*/ 1760 w 1760"/>
              <a:gd name="T41" fmla="*/ 760 h 2040"/>
              <a:gd name="T42" fmla="*/ 240 w 1760"/>
              <a:gd name="T43" fmla="*/ 120 h 2040"/>
              <a:gd name="T44" fmla="*/ 200 w 1760"/>
              <a:gd name="T45" fmla="*/ 320 h 2040"/>
              <a:gd name="T46" fmla="*/ 360 w 1760"/>
              <a:gd name="T47" fmla="*/ 320 h 2040"/>
              <a:gd name="T48" fmla="*/ 320 w 1760"/>
              <a:gd name="T49" fmla="*/ 120 h 2040"/>
              <a:gd name="T50" fmla="*/ 480 w 1760"/>
              <a:gd name="T51" fmla="*/ 251 h 2040"/>
              <a:gd name="T52" fmla="*/ 520 w 1760"/>
              <a:gd name="T53" fmla="*/ 400 h 2040"/>
              <a:gd name="T54" fmla="*/ 560 w 1760"/>
              <a:gd name="T55" fmla="*/ 251 h 2040"/>
              <a:gd name="T56" fmla="*/ 480 w 1760"/>
              <a:gd name="T57" fmla="*/ 120 h 2040"/>
              <a:gd name="T58" fmla="*/ 720 w 1760"/>
              <a:gd name="T59" fmla="*/ 251 h 2040"/>
              <a:gd name="T60" fmla="*/ 760 w 1760"/>
              <a:gd name="T61" fmla="*/ 400 h 2040"/>
              <a:gd name="T62" fmla="*/ 800 w 1760"/>
              <a:gd name="T63" fmla="*/ 251 h 2040"/>
              <a:gd name="T64" fmla="*/ 720 w 1760"/>
              <a:gd name="T65" fmla="*/ 120 h 2040"/>
              <a:gd name="T66" fmla="*/ 960 w 1760"/>
              <a:gd name="T67" fmla="*/ 251 h 2040"/>
              <a:gd name="T68" fmla="*/ 1000 w 1760"/>
              <a:gd name="T69" fmla="*/ 400 h 2040"/>
              <a:gd name="T70" fmla="*/ 1040 w 1760"/>
              <a:gd name="T71" fmla="*/ 251 h 2040"/>
              <a:gd name="T72" fmla="*/ 960 w 1760"/>
              <a:gd name="T73" fmla="*/ 120 h 2040"/>
              <a:gd name="T74" fmla="*/ 1200 w 1760"/>
              <a:gd name="T75" fmla="*/ 251 h 2040"/>
              <a:gd name="T76" fmla="*/ 1240 w 1760"/>
              <a:gd name="T77" fmla="*/ 400 h 2040"/>
              <a:gd name="T78" fmla="*/ 1280 w 1760"/>
              <a:gd name="T79" fmla="*/ 251 h 2040"/>
              <a:gd name="T80" fmla="*/ 1200 w 1760"/>
              <a:gd name="T81" fmla="*/ 120 h 2040"/>
              <a:gd name="T82" fmla="*/ 1440 w 1760"/>
              <a:gd name="T83" fmla="*/ 251 h 2040"/>
              <a:gd name="T84" fmla="*/ 1480 w 1760"/>
              <a:gd name="T85" fmla="*/ 400 h 2040"/>
              <a:gd name="T86" fmla="*/ 1520 w 1760"/>
              <a:gd name="T87" fmla="*/ 251 h 2040"/>
              <a:gd name="T88" fmla="*/ 1440 w 1760"/>
              <a:gd name="T89" fmla="*/ 120 h 2040"/>
              <a:gd name="T90" fmla="*/ 800 w 1760"/>
              <a:gd name="T91" fmla="*/ 1080 h 2040"/>
              <a:gd name="T92" fmla="*/ 880 w 1760"/>
              <a:gd name="T93" fmla="*/ 1720 h 2040"/>
              <a:gd name="T94" fmla="*/ 960 w 1760"/>
              <a:gd name="T95" fmla="*/ 1000 h 2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760" h="2040">
                <a:moveTo>
                  <a:pt x="240" y="40"/>
                </a:moveTo>
                <a:cubicBezTo>
                  <a:pt x="240" y="18"/>
                  <a:pt x="258" y="0"/>
                  <a:pt x="280" y="0"/>
                </a:cubicBezTo>
                <a:cubicBezTo>
                  <a:pt x="302" y="0"/>
                  <a:pt x="320" y="18"/>
                  <a:pt x="320" y="40"/>
                </a:cubicBezTo>
                <a:cubicBezTo>
                  <a:pt x="320" y="120"/>
                  <a:pt x="320" y="120"/>
                  <a:pt x="320" y="120"/>
                </a:cubicBezTo>
                <a:cubicBezTo>
                  <a:pt x="480" y="120"/>
                  <a:pt x="480" y="120"/>
                  <a:pt x="480" y="120"/>
                </a:cubicBezTo>
                <a:cubicBezTo>
                  <a:pt x="480" y="40"/>
                  <a:pt x="480" y="40"/>
                  <a:pt x="480" y="40"/>
                </a:cubicBezTo>
                <a:cubicBezTo>
                  <a:pt x="480" y="18"/>
                  <a:pt x="498" y="0"/>
                  <a:pt x="520" y="0"/>
                </a:cubicBezTo>
                <a:cubicBezTo>
                  <a:pt x="542" y="0"/>
                  <a:pt x="560" y="18"/>
                  <a:pt x="560" y="40"/>
                </a:cubicBezTo>
                <a:cubicBezTo>
                  <a:pt x="560" y="120"/>
                  <a:pt x="560" y="120"/>
                  <a:pt x="560" y="120"/>
                </a:cubicBezTo>
                <a:cubicBezTo>
                  <a:pt x="720" y="120"/>
                  <a:pt x="720" y="120"/>
                  <a:pt x="720" y="120"/>
                </a:cubicBezTo>
                <a:cubicBezTo>
                  <a:pt x="720" y="40"/>
                  <a:pt x="720" y="40"/>
                  <a:pt x="720" y="40"/>
                </a:cubicBezTo>
                <a:cubicBezTo>
                  <a:pt x="720" y="18"/>
                  <a:pt x="738" y="0"/>
                  <a:pt x="760" y="0"/>
                </a:cubicBezTo>
                <a:cubicBezTo>
                  <a:pt x="782" y="0"/>
                  <a:pt x="800" y="18"/>
                  <a:pt x="800" y="40"/>
                </a:cubicBezTo>
                <a:cubicBezTo>
                  <a:pt x="800" y="120"/>
                  <a:pt x="800" y="120"/>
                  <a:pt x="800" y="120"/>
                </a:cubicBezTo>
                <a:cubicBezTo>
                  <a:pt x="960" y="120"/>
                  <a:pt x="960" y="120"/>
                  <a:pt x="960" y="120"/>
                </a:cubicBezTo>
                <a:cubicBezTo>
                  <a:pt x="960" y="40"/>
                  <a:pt x="960" y="40"/>
                  <a:pt x="960" y="40"/>
                </a:cubicBezTo>
                <a:cubicBezTo>
                  <a:pt x="960" y="18"/>
                  <a:pt x="978" y="0"/>
                  <a:pt x="1000" y="0"/>
                </a:cubicBezTo>
                <a:cubicBezTo>
                  <a:pt x="1022" y="0"/>
                  <a:pt x="1040" y="18"/>
                  <a:pt x="1040" y="40"/>
                </a:cubicBezTo>
                <a:cubicBezTo>
                  <a:pt x="1040" y="120"/>
                  <a:pt x="1040" y="120"/>
                  <a:pt x="1040" y="120"/>
                </a:cubicBezTo>
                <a:cubicBezTo>
                  <a:pt x="1200" y="120"/>
                  <a:pt x="1200" y="120"/>
                  <a:pt x="1200" y="120"/>
                </a:cubicBezTo>
                <a:cubicBezTo>
                  <a:pt x="1200" y="40"/>
                  <a:pt x="1200" y="40"/>
                  <a:pt x="1200" y="40"/>
                </a:cubicBezTo>
                <a:cubicBezTo>
                  <a:pt x="1200" y="18"/>
                  <a:pt x="1218" y="0"/>
                  <a:pt x="1240" y="0"/>
                </a:cubicBezTo>
                <a:cubicBezTo>
                  <a:pt x="1262" y="0"/>
                  <a:pt x="1280" y="18"/>
                  <a:pt x="1280" y="40"/>
                </a:cubicBezTo>
                <a:cubicBezTo>
                  <a:pt x="1280" y="120"/>
                  <a:pt x="1280" y="120"/>
                  <a:pt x="1280" y="120"/>
                </a:cubicBezTo>
                <a:cubicBezTo>
                  <a:pt x="1440" y="120"/>
                  <a:pt x="1440" y="120"/>
                  <a:pt x="1440" y="120"/>
                </a:cubicBezTo>
                <a:cubicBezTo>
                  <a:pt x="1440" y="40"/>
                  <a:pt x="1440" y="40"/>
                  <a:pt x="1440" y="40"/>
                </a:cubicBezTo>
                <a:cubicBezTo>
                  <a:pt x="1440" y="18"/>
                  <a:pt x="1458" y="0"/>
                  <a:pt x="1480" y="0"/>
                </a:cubicBezTo>
                <a:cubicBezTo>
                  <a:pt x="1502" y="0"/>
                  <a:pt x="1520" y="18"/>
                  <a:pt x="1520" y="40"/>
                </a:cubicBezTo>
                <a:cubicBezTo>
                  <a:pt x="1520" y="120"/>
                  <a:pt x="1520" y="120"/>
                  <a:pt x="1520" y="120"/>
                </a:cubicBezTo>
                <a:cubicBezTo>
                  <a:pt x="1640" y="120"/>
                  <a:pt x="1640" y="120"/>
                  <a:pt x="1640" y="120"/>
                </a:cubicBezTo>
                <a:cubicBezTo>
                  <a:pt x="1706" y="120"/>
                  <a:pt x="1760" y="174"/>
                  <a:pt x="1760" y="240"/>
                </a:cubicBezTo>
                <a:cubicBezTo>
                  <a:pt x="1760" y="680"/>
                  <a:pt x="1760" y="680"/>
                  <a:pt x="1760" y="680"/>
                </a:cubicBezTo>
                <a:cubicBezTo>
                  <a:pt x="0" y="680"/>
                  <a:pt x="0" y="680"/>
                  <a:pt x="0" y="680"/>
                </a:cubicBezTo>
                <a:cubicBezTo>
                  <a:pt x="0" y="240"/>
                  <a:pt x="0" y="240"/>
                  <a:pt x="0" y="240"/>
                </a:cubicBezTo>
                <a:cubicBezTo>
                  <a:pt x="0" y="174"/>
                  <a:pt x="54" y="120"/>
                  <a:pt x="120" y="120"/>
                </a:cubicBezTo>
                <a:cubicBezTo>
                  <a:pt x="240" y="120"/>
                  <a:pt x="240" y="120"/>
                  <a:pt x="240" y="120"/>
                </a:cubicBezTo>
                <a:lnTo>
                  <a:pt x="240" y="40"/>
                </a:lnTo>
                <a:close/>
                <a:moveTo>
                  <a:pt x="1760" y="760"/>
                </a:moveTo>
                <a:cubicBezTo>
                  <a:pt x="1760" y="2040"/>
                  <a:pt x="1760" y="2040"/>
                  <a:pt x="1760" y="2040"/>
                </a:cubicBezTo>
                <a:cubicBezTo>
                  <a:pt x="0" y="2040"/>
                  <a:pt x="0" y="2040"/>
                  <a:pt x="0" y="2040"/>
                </a:cubicBezTo>
                <a:cubicBezTo>
                  <a:pt x="0" y="760"/>
                  <a:pt x="0" y="760"/>
                  <a:pt x="0" y="760"/>
                </a:cubicBezTo>
                <a:lnTo>
                  <a:pt x="1760" y="760"/>
                </a:lnTo>
                <a:close/>
                <a:moveTo>
                  <a:pt x="320" y="120"/>
                </a:moveTo>
                <a:cubicBezTo>
                  <a:pt x="240" y="120"/>
                  <a:pt x="240" y="120"/>
                  <a:pt x="240" y="120"/>
                </a:cubicBezTo>
                <a:cubicBezTo>
                  <a:pt x="240" y="251"/>
                  <a:pt x="240" y="251"/>
                  <a:pt x="240" y="251"/>
                </a:cubicBezTo>
                <a:cubicBezTo>
                  <a:pt x="216" y="264"/>
                  <a:pt x="200" y="290"/>
                  <a:pt x="200" y="320"/>
                </a:cubicBezTo>
                <a:cubicBezTo>
                  <a:pt x="200" y="364"/>
                  <a:pt x="236" y="400"/>
                  <a:pt x="280" y="400"/>
                </a:cubicBezTo>
                <a:cubicBezTo>
                  <a:pt x="324" y="400"/>
                  <a:pt x="360" y="364"/>
                  <a:pt x="360" y="320"/>
                </a:cubicBezTo>
                <a:cubicBezTo>
                  <a:pt x="360" y="290"/>
                  <a:pt x="344" y="264"/>
                  <a:pt x="320" y="251"/>
                </a:cubicBezTo>
                <a:lnTo>
                  <a:pt x="320" y="120"/>
                </a:lnTo>
                <a:close/>
                <a:moveTo>
                  <a:pt x="480" y="120"/>
                </a:moveTo>
                <a:cubicBezTo>
                  <a:pt x="480" y="251"/>
                  <a:pt x="480" y="251"/>
                  <a:pt x="480" y="251"/>
                </a:cubicBezTo>
                <a:cubicBezTo>
                  <a:pt x="456" y="264"/>
                  <a:pt x="440" y="290"/>
                  <a:pt x="440" y="320"/>
                </a:cubicBezTo>
                <a:cubicBezTo>
                  <a:pt x="440" y="364"/>
                  <a:pt x="476" y="400"/>
                  <a:pt x="520" y="400"/>
                </a:cubicBezTo>
                <a:cubicBezTo>
                  <a:pt x="564" y="400"/>
                  <a:pt x="600" y="364"/>
                  <a:pt x="600" y="320"/>
                </a:cubicBezTo>
                <a:cubicBezTo>
                  <a:pt x="600" y="290"/>
                  <a:pt x="584" y="264"/>
                  <a:pt x="560" y="251"/>
                </a:cubicBezTo>
                <a:cubicBezTo>
                  <a:pt x="560" y="120"/>
                  <a:pt x="560" y="120"/>
                  <a:pt x="560" y="120"/>
                </a:cubicBezTo>
                <a:lnTo>
                  <a:pt x="480" y="120"/>
                </a:lnTo>
                <a:close/>
                <a:moveTo>
                  <a:pt x="720" y="120"/>
                </a:moveTo>
                <a:cubicBezTo>
                  <a:pt x="720" y="251"/>
                  <a:pt x="720" y="251"/>
                  <a:pt x="720" y="251"/>
                </a:cubicBezTo>
                <a:cubicBezTo>
                  <a:pt x="696" y="264"/>
                  <a:pt x="680" y="290"/>
                  <a:pt x="680" y="320"/>
                </a:cubicBezTo>
                <a:cubicBezTo>
                  <a:pt x="680" y="364"/>
                  <a:pt x="716" y="400"/>
                  <a:pt x="760" y="400"/>
                </a:cubicBezTo>
                <a:cubicBezTo>
                  <a:pt x="804" y="400"/>
                  <a:pt x="840" y="364"/>
                  <a:pt x="840" y="320"/>
                </a:cubicBezTo>
                <a:cubicBezTo>
                  <a:pt x="840" y="290"/>
                  <a:pt x="824" y="264"/>
                  <a:pt x="800" y="251"/>
                </a:cubicBezTo>
                <a:cubicBezTo>
                  <a:pt x="800" y="120"/>
                  <a:pt x="800" y="120"/>
                  <a:pt x="800" y="120"/>
                </a:cubicBezTo>
                <a:lnTo>
                  <a:pt x="720" y="120"/>
                </a:lnTo>
                <a:close/>
                <a:moveTo>
                  <a:pt x="960" y="120"/>
                </a:moveTo>
                <a:cubicBezTo>
                  <a:pt x="960" y="251"/>
                  <a:pt x="960" y="251"/>
                  <a:pt x="960" y="251"/>
                </a:cubicBezTo>
                <a:cubicBezTo>
                  <a:pt x="936" y="264"/>
                  <a:pt x="920" y="290"/>
                  <a:pt x="920" y="320"/>
                </a:cubicBezTo>
                <a:cubicBezTo>
                  <a:pt x="920" y="364"/>
                  <a:pt x="956" y="400"/>
                  <a:pt x="1000" y="400"/>
                </a:cubicBezTo>
                <a:cubicBezTo>
                  <a:pt x="1044" y="400"/>
                  <a:pt x="1080" y="364"/>
                  <a:pt x="1080" y="320"/>
                </a:cubicBezTo>
                <a:cubicBezTo>
                  <a:pt x="1080" y="290"/>
                  <a:pt x="1064" y="264"/>
                  <a:pt x="1040" y="251"/>
                </a:cubicBezTo>
                <a:cubicBezTo>
                  <a:pt x="1040" y="120"/>
                  <a:pt x="1040" y="120"/>
                  <a:pt x="1040" y="120"/>
                </a:cubicBezTo>
                <a:lnTo>
                  <a:pt x="960" y="120"/>
                </a:lnTo>
                <a:close/>
                <a:moveTo>
                  <a:pt x="1200" y="120"/>
                </a:moveTo>
                <a:cubicBezTo>
                  <a:pt x="1200" y="251"/>
                  <a:pt x="1200" y="251"/>
                  <a:pt x="1200" y="251"/>
                </a:cubicBezTo>
                <a:cubicBezTo>
                  <a:pt x="1176" y="264"/>
                  <a:pt x="1160" y="290"/>
                  <a:pt x="1160" y="320"/>
                </a:cubicBezTo>
                <a:cubicBezTo>
                  <a:pt x="1160" y="364"/>
                  <a:pt x="1196" y="400"/>
                  <a:pt x="1240" y="400"/>
                </a:cubicBezTo>
                <a:cubicBezTo>
                  <a:pt x="1284" y="400"/>
                  <a:pt x="1320" y="364"/>
                  <a:pt x="1320" y="320"/>
                </a:cubicBezTo>
                <a:cubicBezTo>
                  <a:pt x="1320" y="290"/>
                  <a:pt x="1304" y="264"/>
                  <a:pt x="1280" y="251"/>
                </a:cubicBezTo>
                <a:cubicBezTo>
                  <a:pt x="1280" y="120"/>
                  <a:pt x="1280" y="120"/>
                  <a:pt x="1280" y="120"/>
                </a:cubicBezTo>
                <a:lnTo>
                  <a:pt x="1200" y="120"/>
                </a:lnTo>
                <a:close/>
                <a:moveTo>
                  <a:pt x="1440" y="120"/>
                </a:moveTo>
                <a:cubicBezTo>
                  <a:pt x="1440" y="251"/>
                  <a:pt x="1440" y="251"/>
                  <a:pt x="1440" y="251"/>
                </a:cubicBezTo>
                <a:cubicBezTo>
                  <a:pt x="1416" y="264"/>
                  <a:pt x="1400" y="290"/>
                  <a:pt x="1400" y="320"/>
                </a:cubicBezTo>
                <a:cubicBezTo>
                  <a:pt x="1400" y="364"/>
                  <a:pt x="1436" y="400"/>
                  <a:pt x="1480" y="400"/>
                </a:cubicBezTo>
                <a:cubicBezTo>
                  <a:pt x="1524" y="400"/>
                  <a:pt x="1560" y="364"/>
                  <a:pt x="1560" y="320"/>
                </a:cubicBezTo>
                <a:cubicBezTo>
                  <a:pt x="1560" y="290"/>
                  <a:pt x="1544" y="264"/>
                  <a:pt x="1520" y="251"/>
                </a:cubicBezTo>
                <a:cubicBezTo>
                  <a:pt x="1520" y="120"/>
                  <a:pt x="1520" y="120"/>
                  <a:pt x="1520" y="120"/>
                </a:cubicBezTo>
                <a:lnTo>
                  <a:pt x="1440" y="120"/>
                </a:lnTo>
                <a:close/>
                <a:moveTo>
                  <a:pt x="800" y="1000"/>
                </a:moveTo>
                <a:cubicBezTo>
                  <a:pt x="800" y="1080"/>
                  <a:pt x="800" y="1080"/>
                  <a:pt x="800" y="1080"/>
                </a:cubicBezTo>
                <a:cubicBezTo>
                  <a:pt x="880" y="1080"/>
                  <a:pt x="880" y="1080"/>
                  <a:pt x="880" y="1080"/>
                </a:cubicBezTo>
                <a:cubicBezTo>
                  <a:pt x="880" y="1720"/>
                  <a:pt x="880" y="1720"/>
                  <a:pt x="880" y="1720"/>
                </a:cubicBezTo>
                <a:cubicBezTo>
                  <a:pt x="960" y="1720"/>
                  <a:pt x="960" y="1720"/>
                  <a:pt x="960" y="1720"/>
                </a:cubicBezTo>
                <a:cubicBezTo>
                  <a:pt x="960" y="1000"/>
                  <a:pt x="960" y="1000"/>
                  <a:pt x="960" y="1000"/>
                </a:cubicBezTo>
                <a:lnTo>
                  <a:pt x="800" y="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631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6/07/2013 13:48:39"/>
  <p:tag name="VCT-TEMPLATE" val="GfK Group_4-3_redesign.potx"/>
  <p:tag name="VCTMASTER" val="GfK Group_Master_4-3"/>
  <p:tag name="VCTORD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ContentArea"/>
  <p:tag name="DATE" val="09/08/2014 17:55:0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jFy_9Pv0qLhZvqN2Uv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Tema1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LWV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smtClean="0">
            <a:latin typeface="Arial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611</TotalTime>
  <Words>573</Words>
  <Application>Microsoft Office PowerPoint</Application>
  <PresentationFormat>Presentación en pantalla (16:9)</PresentationFormat>
  <Paragraphs>129</Paragraphs>
  <Slides>18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8</vt:i4>
      </vt:variant>
    </vt:vector>
  </HeadingPairs>
  <TitlesOfParts>
    <vt:vector size="20" baseType="lpstr">
      <vt:lpstr>Tema1</vt:lpstr>
      <vt:lpstr>think-cell Slide</vt:lpstr>
      <vt:lpstr>Presentación de PowerPoint</vt:lpstr>
      <vt:lpstr>¿Qué buscamos con el estudio?</vt:lpstr>
      <vt:lpstr>Metodología </vt:lpstr>
      <vt:lpstr>Descripción de la muestra ponderada</vt:lpstr>
      <vt:lpstr>Resultados</vt:lpstr>
      <vt:lpstr>¿Cuál de estas cosas te gustaría que pasaran para que sintieras que tu vida es más feliz? (respuesta múltiple)</vt:lpstr>
      <vt:lpstr>¿Tienes alguna idea, plan o sueño que quieras cumplir y tengas pendiente?</vt:lpstr>
      <vt:lpstr>En caso de que tengas más de un sueño, ¿en qué categoría ubicarías el que es más importante para ti?</vt:lpstr>
      <vt:lpstr>En caso de que tengas más de un sueño, ¿en qué categoría ubicarías el que es más importante para ti?</vt:lpstr>
      <vt:lpstr>¿Cuál es la principal barrera o problema que tienes hoy para poder cumplir ese sueño?</vt:lpstr>
      <vt:lpstr>¿En cuánto tiempo más crees que podrás cumplir con ese sueño?</vt:lpstr>
      <vt:lpstr>¿Por qué ese sueño es tan importante para ti?  (respuesta múltiple)</vt:lpstr>
      <vt:lpstr>¿Cómo te sentirías al poder realizar este sueño? (respuesta múltiple)</vt:lpstr>
      <vt:lpstr>¿Cómo te sentirías al poder realizar este sueño? (respuesta múltiple)</vt:lpstr>
      <vt:lpstr>Si usted ganara 25 millones de pesos, ¿Qué haría con ese dinero? (respuesta múltiple)</vt:lpstr>
      <vt:lpstr>Si usted ganara 2 millones de pesos, ¿Qué haría con ese dinero? (respuesta múltiple)</vt:lpstr>
      <vt:lpstr>Si usted ganara 1 millón de pesos, ¿Qué haría con ese dinero? (respuesta múltiple)</vt:lpstr>
      <vt:lpstr>¡Gracias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ternativas de evaluación de campañas</dc:title>
  <dc:creator>Felipe lohse</dc:creator>
  <cp:lastModifiedBy>Correia, Catalina (GfK)</cp:lastModifiedBy>
  <cp:revision>744</cp:revision>
  <dcterms:created xsi:type="dcterms:W3CDTF">2014-10-13T20:12:01Z</dcterms:created>
  <dcterms:modified xsi:type="dcterms:W3CDTF">2017-05-16T17:57:43Z</dcterms:modified>
</cp:coreProperties>
</file>